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96" r:id="rId5"/>
    <p:sldMasterId id="2147483714" r:id="rId6"/>
    <p:sldMasterId id="2147483763" r:id="rId7"/>
  </p:sldMasterIdLst>
  <p:notesMasterIdLst>
    <p:notesMasterId r:id="rId20"/>
  </p:notesMasterIdLst>
  <p:sldIdLst>
    <p:sldId id="256" r:id="rId8"/>
    <p:sldId id="492" r:id="rId9"/>
    <p:sldId id="522" r:id="rId10"/>
    <p:sldId id="523" r:id="rId11"/>
    <p:sldId id="502" r:id="rId12"/>
    <p:sldId id="503" r:id="rId13"/>
    <p:sldId id="504" r:id="rId14"/>
    <p:sldId id="505" r:id="rId15"/>
    <p:sldId id="506" r:id="rId16"/>
    <p:sldId id="507" r:id="rId17"/>
    <p:sldId id="508" r:id="rId18"/>
    <p:sldId id="509" r:id="rId19"/>
  </p:sldIdLst>
  <p:sldSz cx="9906000" cy="6858000" type="A4"/>
  <p:notesSz cx="9144000" cy="6858000"/>
  <p:custDataLst>
    <p:tags r:id="rId21"/>
  </p:custDataLst>
  <p:defaultTextStyle>
    <a:defPPr>
      <a:defRPr lang="en-US"/>
    </a:defPPr>
    <a:lvl1pPr marL="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4571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 Instructions" id="{69546B08-4640-6E4A-95A4-B47E3490406D}">
          <p14:sldIdLst/>
        </p14:section>
        <p14:section name="Master Slides" id="{1165592B-D1AE-EE48-AEB4-F19515D86DC8}">
          <p14:sldIdLst>
            <p14:sldId id="256"/>
            <p14:sldId id="492"/>
            <p14:sldId id="522"/>
            <p14:sldId id="523"/>
            <p14:sldId id="502"/>
            <p14:sldId id="503"/>
            <p14:sldId id="504"/>
            <p14:sldId id="505"/>
            <p14:sldId id="506"/>
            <p14:sldId id="507"/>
            <p14:sldId id="508"/>
            <p14:sldId id="509"/>
          </p14:sldIdLst>
        </p14:section>
        <p14:section name="Slide Library" id="{1C45B241-AD60-5E41-B81B-5107D1A1F7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842" userDrawn="1">
          <p15:clr>
            <a:srgbClr val="A4A3A4"/>
          </p15:clr>
        </p15:guide>
        <p15:guide id="2" orient="horz" pos="3280" userDrawn="1">
          <p15:clr>
            <a:srgbClr val="A4A3A4"/>
          </p15:clr>
        </p15:guide>
        <p15:guide id="3" orient="horz" pos="2228" userDrawn="1">
          <p15:clr>
            <a:srgbClr val="A4A3A4"/>
          </p15:clr>
        </p15:guide>
        <p15:guide id="4" orient="horz" pos="2614" userDrawn="1">
          <p15:clr>
            <a:srgbClr val="A4A3A4"/>
          </p15:clr>
        </p15:guide>
        <p15:guide id="5" pos="3097" userDrawn="1">
          <p15:clr>
            <a:srgbClr val="A4A3A4"/>
          </p15:clr>
        </p15:guide>
        <p15:guide id="6" orient="horz" pos="1579" userDrawn="1">
          <p15:clr>
            <a:srgbClr val="A4A3A4"/>
          </p15:clr>
        </p15:guide>
        <p15:guide id="7" orient="horz" pos="1616" userDrawn="1">
          <p15:clr>
            <a:srgbClr val="A4A3A4"/>
          </p15:clr>
        </p15:guide>
        <p15:guide id="8" pos="1056" userDrawn="1">
          <p15:clr>
            <a:srgbClr val="A4A3A4"/>
          </p15:clr>
        </p15:guide>
        <p15:guide id="9" pos="2767" userDrawn="1">
          <p15:clr>
            <a:srgbClr val="A4A3A4"/>
          </p15:clr>
        </p15:guide>
        <p15:guide id="10" pos="191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4" autoAdjust="0"/>
    <p:restoredTop sz="78898" autoAdjust="0"/>
  </p:normalViewPr>
  <p:slideViewPr>
    <p:cSldViewPr snapToGrid="0" showGuides="1">
      <p:cViewPr>
        <p:scale>
          <a:sx n="102" d="100"/>
          <a:sy n="102" d="100"/>
        </p:scale>
        <p:origin x="156" y="57"/>
      </p:cViewPr>
      <p:guideLst>
        <p:guide orient="horz" pos="1842"/>
        <p:guide orient="horz" pos="3280"/>
        <p:guide orient="horz" pos="2228"/>
        <p:guide orient="horz" pos="2614"/>
        <p:guide pos="3097"/>
        <p:guide orient="horz" pos="1579"/>
        <p:guide orient="horz" pos="1616"/>
        <p:guide pos="1056"/>
        <p:guide pos="2767"/>
        <p:guide pos="191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2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32F91E-6BD3-4F0D-9CA3-7829EAE64D63}" type="datetimeFigureOut">
              <a:rPr lang="en-AU" smtClean="0"/>
              <a:t>13/06/2019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00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9C5488-DD16-4714-9519-7BE21BA11D4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09874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7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20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9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66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41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14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88" algn="l" defTabSz="9143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00363" y="857250"/>
            <a:ext cx="3343275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9C5488-DD16-4714-9519-7BE21BA11D4E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24913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What</a:t>
            </a:r>
            <a:r>
              <a:rPr lang="en-AU" baseline="0" dirty="0" smtClean="0"/>
              <a:t> have we got and wh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9C5488-DD16-4714-9519-7BE21BA11D4E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15771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9C5488-DD16-4714-9519-7BE21BA11D4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063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770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472825-6052-40AD-ABCB-6547B0AB80A6}" type="slidenum">
              <a:rPr kumimoji="0" lang="en-AU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770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17568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770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472825-6052-40AD-ABCB-6547B0AB80A6}" type="slidenum">
              <a:rPr kumimoji="0" lang="en-AU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770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2345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3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10 Solution Design Principles themes are a framework to extract design principles via an interactive workshop pro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9C5488-DD16-4714-9519-7BE21BA11D4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82162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970CEFB-E51A-4B14-9DB2-514C0C5AB6A8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308336" y="1"/>
            <a:ext cx="2597664" cy="4803828"/>
          </a:xfrm>
          <a:custGeom>
            <a:avLst/>
            <a:gdLst>
              <a:gd name="connsiteX0" fmla="*/ 1294023 w 2548807"/>
              <a:gd name="connsiteY0" fmla="*/ 0 h 4803828"/>
              <a:gd name="connsiteX1" fmla="*/ 2548807 w 2548807"/>
              <a:gd name="connsiteY1" fmla="*/ 0 h 4803828"/>
              <a:gd name="connsiteX2" fmla="*/ 2548807 w 2548807"/>
              <a:gd name="connsiteY2" fmla="*/ 4803828 h 4803828"/>
              <a:gd name="connsiteX3" fmla="*/ 2310823 w 2548807"/>
              <a:gd name="connsiteY3" fmla="*/ 4791811 h 4803828"/>
              <a:gd name="connsiteX4" fmla="*/ 0 w 2548807"/>
              <a:gd name="connsiteY4" fmla="*/ 2231100 h 4803828"/>
              <a:gd name="connsiteX5" fmla="*/ 1134852 w 2548807"/>
              <a:gd name="connsiteY5" fmla="*/ 96699 h 4803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8807" h="4803828">
                <a:moveTo>
                  <a:pt x="1294023" y="0"/>
                </a:moveTo>
                <a:lnTo>
                  <a:pt x="2548807" y="0"/>
                </a:lnTo>
                <a:lnTo>
                  <a:pt x="2548807" y="4803828"/>
                </a:lnTo>
                <a:lnTo>
                  <a:pt x="2310823" y="4791811"/>
                </a:lnTo>
                <a:cubicBezTo>
                  <a:pt x="1012868" y="4659996"/>
                  <a:pt x="0" y="3563832"/>
                  <a:pt x="0" y="2231100"/>
                </a:cubicBezTo>
                <a:cubicBezTo>
                  <a:pt x="0" y="1342612"/>
                  <a:pt x="450164" y="559265"/>
                  <a:pt x="1134852" y="96699"/>
                </a:cubicBezTo>
                <a:close/>
              </a:path>
            </a:pathLst>
          </a:custGeom>
          <a:solidFill>
            <a:schemeClr val="accent5">
              <a:alpha val="7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4109575"/>
            <a:ext cx="6512384" cy="11079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goes here across two lines</a:t>
            </a:r>
            <a:endParaRPr lang="en-AU" dirty="0"/>
          </a:p>
        </p:txBody>
      </p:sp>
      <p:sp>
        <p:nvSpPr>
          <p:cNvPr id="22" name="Freeform 10">
            <a:extLst>
              <a:ext uri="{FF2B5EF4-FFF2-40B4-BE49-F238E27FC236}">
                <a16:creationId xmlns:a16="http://schemas.microsoft.com/office/drawing/2014/main" id="{39AB1F3C-8E26-4E08-9535-80C3D60FD691}"/>
              </a:ext>
            </a:extLst>
          </p:cNvPr>
          <p:cNvSpPr>
            <a:spLocks/>
          </p:cNvSpPr>
          <p:nvPr userDrawn="1"/>
        </p:nvSpPr>
        <p:spPr bwMode="auto">
          <a:xfrm>
            <a:off x="2731322" y="3"/>
            <a:ext cx="2488634" cy="2384889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F91DDC9C-D975-43D0-B1B8-699AE6B7DA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374180" y="-217114"/>
            <a:ext cx="1934156" cy="1619232"/>
          </a:xfrm>
          <a:custGeom>
            <a:avLst/>
            <a:gdLst>
              <a:gd name="T0" fmla="*/ 331 w 3240"/>
              <a:gd name="T1" fmla="*/ 506 h 2758"/>
              <a:gd name="T2" fmla="*/ 325 w 3240"/>
              <a:gd name="T3" fmla="*/ 408 h 2758"/>
              <a:gd name="T4" fmla="*/ 328 w 3240"/>
              <a:gd name="T5" fmla="*/ 242 h 2758"/>
              <a:gd name="T6" fmla="*/ 322 w 3240"/>
              <a:gd name="T7" fmla="*/ 157 h 2758"/>
              <a:gd name="T8" fmla="*/ 68 w 3240"/>
              <a:gd name="T9" fmla="*/ 8 h 2758"/>
              <a:gd name="T10" fmla="*/ 29 w 3240"/>
              <a:gd name="T11" fmla="*/ 52 h 2758"/>
              <a:gd name="T12" fmla="*/ 22 w 3240"/>
              <a:gd name="T13" fmla="*/ 120 h 2758"/>
              <a:gd name="T14" fmla="*/ 9 w 3240"/>
              <a:gd name="T15" fmla="*/ 192 h 2758"/>
              <a:gd name="T16" fmla="*/ 14 w 3240"/>
              <a:gd name="T17" fmla="*/ 237 h 2758"/>
              <a:gd name="T18" fmla="*/ 45 w 3240"/>
              <a:gd name="T19" fmla="*/ 308 h 2758"/>
              <a:gd name="T20" fmla="*/ 15 w 3240"/>
              <a:gd name="T21" fmla="*/ 366 h 2758"/>
              <a:gd name="T22" fmla="*/ 28 w 3240"/>
              <a:gd name="T23" fmla="*/ 405 h 2758"/>
              <a:gd name="T24" fmla="*/ 600 w 3240"/>
              <a:gd name="T25" fmla="*/ 1457 h 2758"/>
              <a:gd name="T26" fmla="*/ 486 w 3240"/>
              <a:gd name="T27" fmla="*/ 1266 h 2758"/>
              <a:gd name="T28" fmla="*/ 419 w 3240"/>
              <a:gd name="T29" fmla="*/ 1100 h 2758"/>
              <a:gd name="T30" fmla="*/ 389 w 3240"/>
              <a:gd name="T31" fmla="*/ 1025 h 2758"/>
              <a:gd name="T32" fmla="*/ 120 w 3240"/>
              <a:gd name="T33" fmla="*/ 1113 h 2758"/>
              <a:gd name="T34" fmla="*/ 149 w 3240"/>
              <a:gd name="T35" fmla="*/ 1259 h 2758"/>
              <a:gd name="T36" fmla="*/ 165 w 3240"/>
              <a:gd name="T37" fmla="*/ 1292 h 2758"/>
              <a:gd name="T38" fmla="*/ 220 w 3240"/>
              <a:gd name="T39" fmla="*/ 1415 h 2758"/>
              <a:gd name="T40" fmla="*/ 245 w 3240"/>
              <a:gd name="T41" fmla="*/ 1438 h 2758"/>
              <a:gd name="T42" fmla="*/ 290 w 3240"/>
              <a:gd name="T43" fmla="*/ 1492 h 2758"/>
              <a:gd name="T44" fmla="*/ 336 w 3240"/>
              <a:gd name="T45" fmla="*/ 1579 h 2758"/>
              <a:gd name="T46" fmla="*/ 607 w 3240"/>
              <a:gd name="T47" fmla="*/ 1497 h 2758"/>
              <a:gd name="T48" fmla="*/ 1313 w 3240"/>
              <a:gd name="T49" fmla="*/ 2196 h 2758"/>
              <a:gd name="T50" fmla="*/ 1290 w 3240"/>
              <a:gd name="T51" fmla="*/ 2173 h 2758"/>
              <a:gd name="T52" fmla="*/ 1111 w 3240"/>
              <a:gd name="T53" fmla="*/ 2088 h 2758"/>
              <a:gd name="T54" fmla="*/ 973 w 3240"/>
              <a:gd name="T55" fmla="*/ 1984 h 2758"/>
              <a:gd name="T56" fmla="*/ 910 w 3240"/>
              <a:gd name="T57" fmla="*/ 1921 h 2758"/>
              <a:gd name="T58" fmla="*/ 731 w 3240"/>
              <a:gd name="T59" fmla="*/ 2153 h 2758"/>
              <a:gd name="T60" fmla="*/ 796 w 3240"/>
              <a:gd name="T61" fmla="*/ 2248 h 2758"/>
              <a:gd name="T62" fmla="*/ 861 w 3240"/>
              <a:gd name="T63" fmla="*/ 2279 h 2758"/>
              <a:gd name="T64" fmla="*/ 943 w 3240"/>
              <a:gd name="T65" fmla="*/ 2361 h 2758"/>
              <a:gd name="T66" fmla="*/ 992 w 3240"/>
              <a:gd name="T67" fmla="*/ 2372 h 2758"/>
              <a:gd name="T68" fmla="*/ 1069 w 3240"/>
              <a:gd name="T69" fmla="*/ 2366 h 2758"/>
              <a:gd name="T70" fmla="*/ 1139 w 3240"/>
              <a:gd name="T71" fmla="*/ 2429 h 2758"/>
              <a:gd name="T72" fmla="*/ 1314 w 3240"/>
              <a:gd name="T73" fmla="*/ 2198 h 2758"/>
              <a:gd name="T74" fmla="*/ 2234 w 3240"/>
              <a:gd name="T75" fmla="*/ 2396 h 2758"/>
              <a:gd name="T76" fmla="*/ 2203 w 3240"/>
              <a:gd name="T77" fmla="*/ 2377 h 2758"/>
              <a:gd name="T78" fmla="*/ 2004 w 3240"/>
              <a:gd name="T79" fmla="*/ 2404 h 2758"/>
              <a:gd name="T80" fmla="*/ 1843 w 3240"/>
              <a:gd name="T81" fmla="*/ 2395 h 2758"/>
              <a:gd name="T82" fmla="*/ 1769 w 3240"/>
              <a:gd name="T83" fmla="*/ 2390 h 2758"/>
              <a:gd name="T84" fmla="*/ 1742 w 3240"/>
              <a:gd name="T85" fmla="*/ 2701 h 2758"/>
              <a:gd name="T86" fmla="*/ 1872 w 3240"/>
              <a:gd name="T87" fmla="*/ 2740 h 2758"/>
              <a:gd name="T88" fmla="*/ 1905 w 3240"/>
              <a:gd name="T89" fmla="*/ 2738 h 2758"/>
              <a:gd name="T90" fmla="*/ 2027 w 3240"/>
              <a:gd name="T91" fmla="*/ 2741 h 2758"/>
              <a:gd name="T92" fmla="*/ 2055 w 3240"/>
              <a:gd name="T93" fmla="*/ 2726 h 2758"/>
              <a:gd name="T94" fmla="*/ 2116 w 3240"/>
              <a:gd name="T95" fmla="*/ 2706 h 2758"/>
              <a:gd name="T96" fmla="*/ 2205 w 3240"/>
              <a:gd name="T97" fmla="*/ 2700 h 2758"/>
              <a:gd name="T98" fmla="*/ 2239 w 3240"/>
              <a:gd name="T99" fmla="*/ 2390 h 2758"/>
              <a:gd name="T100" fmla="*/ 3078 w 3240"/>
              <a:gd name="T101" fmla="*/ 2001 h 2758"/>
              <a:gd name="T102" fmla="*/ 3058 w 3240"/>
              <a:gd name="T103" fmla="*/ 2002 h 2758"/>
              <a:gd name="T104" fmla="*/ 2976 w 3240"/>
              <a:gd name="T105" fmla="*/ 2092 h 2758"/>
              <a:gd name="T106" fmla="*/ 2818 w 3240"/>
              <a:gd name="T107" fmla="*/ 2223 h 2758"/>
              <a:gd name="T108" fmla="*/ 2741 w 3240"/>
              <a:gd name="T109" fmla="*/ 2288 h 2758"/>
              <a:gd name="T110" fmla="*/ 2825 w 3240"/>
              <a:gd name="T111" fmla="*/ 2557 h 2758"/>
              <a:gd name="T112" fmla="*/ 2905 w 3240"/>
              <a:gd name="T113" fmla="*/ 2551 h 2758"/>
              <a:gd name="T114" fmla="*/ 2977 w 3240"/>
              <a:gd name="T115" fmla="*/ 2504 h 2758"/>
              <a:gd name="T116" fmla="*/ 3057 w 3240"/>
              <a:gd name="T117" fmla="*/ 2457 h 2758"/>
              <a:gd name="T118" fmla="*/ 3095 w 3240"/>
              <a:gd name="T119" fmla="*/ 2417 h 2758"/>
              <a:gd name="T120" fmla="*/ 3132 w 3240"/>
              <a:gd name="T121" fmla="*/ 2340 h 2758"/>
              <a:gd name="T122" fmla="*/ 3212 w 3240"/>
              <a:gd name="T123" fmla="*/ 2303 h 2758"/>
              <a:gd name="T124" fmla="*/ 3230 w 3240"/>
              <a:gd name="T125" fmla="*/ 2257 h 2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240" h="2758">
                <a:moveTo>
                  <a:pt x="315" y="518"/>
                </a:moveTo>
                <a:cubicBezTo>
                  <a:pt x="319" y="518"/>
                  <a:pt x="321" y="517"/>
                  <a:pt x="319" y="515"/>
                </a:cubicBezTo>
                <a:cubicBezTo>
                  <a:pt x="309" y="512"/>
                  <a:pt x="309" y="512"/>
                  <a:pt x="309" y="512"/>
                </a:cubicBezTo>
                <a:cubicBezTo>
                  <a:pt x="306" y="508"/>
                  <a:pt x="315" y="513"/>
                  <a:pt x="315" y="510"/>
                </a:cubicBezTo>
                <a:cubicBezTo>
                  <a:pt x="322" y="512"/>
                  <a:pt x="324" y="515"/>
                  <a:pt x="324" y="517"/>
                </a:cubicBezTo>
                <a:cubicBezTo>
                  <a:pt x="325" y="515"/>
                  <a:pt x="331" y="515"/>
                  <a:pt x="323" y="512"/>
                </a:cubicBezTo>
                <a:cubicBezTo>
                  <a:pt x="326" y="511"/>
                  <a:pt x="332" y="515"/>
                  <a:pt x="336" y="513"/>
                </a:cubicBezTo>
                <a:cubicBezTo>
                  <a:pt x="334" y="511"/>
                  <a:pt x="326" y="507"/>
                  <a:pt x="331" y="506"/>
                </a:cubicBezTo>
                <a:cubicBezTo>
                  <a:pt x="332" y="506"/>
                  <a:pt x="332" y="506"/>
                  <a:pt x="332" y="506"/>
                </a:cubicBezTo>
                <a:cubicBezTo>
                  <a:pt x="341" y="504"/>
                  <a:pt x="321" y="496"/>
                  <a:pt x="330" y="494"/>
                </a:cubicBezTo>
                <a:cubicBezTo>
                  <a:pt x="332" y="495"/>
                  <a:pt x="332" y="495"/>
                  <a:pt x="332" y="495"/>
                </a:cubicBezTo>
                <a:cubicBezTo>
                  <a:pt x="337" y="495"/>
                  <a:pt x="331" y="490"/>
                  <a:pt x="336" y="489"/>
                </a:cubicBezTo>
                <a:cubicBezTo>
                  <a:pt x="335" y="489"/>
                  <a:pt x="329" y="488"/>
                  <a:pt x="328" y="486"/>
                </a:cubicBezTo>
                <a:cubicBezTo>
                  <a:pt x="333" y="485"/>
                  <a:pt x="329" y="481"/>
                  <a:pt x="335" y="480"/>
                </a:cubicBezTo>
                <a:cubicBezTo>
                  <a:pt x="328" y="476"/>
                  <a:pt x="328" y="476"/>
                  <a:pt x="328" y="476"/>
                </a:cubicBezTo>
                <a:cubicBezTo>
                  <a:pt x="330" y="466"/>
                  <a:pt x="325" y="419"/>
                  <a:pt x="325" y="408"/>
                </a:cubicBezTo>
                <a:cubicBezTo>
                  <a:pt x="326" y="408"/>
                  <a:pt x="326" y="408"/>
                  <a:pt x="326" y="408"/>
                </a:cubicBezTo>
                <a:cubicBezTo>
                  <a:pt x="324" y="390"/>
                  <a:pt x="330" y="356"/>
                  <a:pt x="322" y="335"/>
                </a:cubicBezTo>
                <a:cubicBezTo>
                  <a:pt x="330" y="335"/>
                  <a:pt x="328" y="331"/>
                  <a:pt x="331" y="329"/>
                </a:cubicBezTo>
                <a:cubicBezTo>
                  <a:pt x="328" y="329"/>
                  <a:pt x="323" y="327"/>
                  <a:pt x="323" y="326"/>
                </a:cubicBezTo>
                <a:cubicBezTo>
                  <a:pt x="325" y="317"/>
                  <a:pt x="318" y="323"/>
                  <a:pt x="316" y="313"/>
                </a:cubicBezTo>
                <a:cubicBezTo>
                  <a:pt x="311" y="300"/>
                  <a:pt x="325" y="266"/>
                  <a:pt x="332" y="260"/>
                </a:cubicBezTo>
                <a:cubicBezTo>
                  <a:pt x="322" y="250"/>
                  <a:pt x="332" y="248"/>
                  <a:pt x="326" y="241"/>
                </a:cubicBezTo>
                <a:cubicBezTo>
                  <a:pt x="328" y="242"/>
                  <a:pt x="328" y="242"/>
                  <a:pt x="328" y="242"/>
                </a:cubicBezTo>
                <a:cubicBezTo>
                  <a:pt x="325" y="235"/>
                  <a:pt x="340" y="212"/>
                  <a:pt x="337" y="204"/>
                </a:cubicBezTo>
                <a:cubicBezTo>
                  <a:pt x="335" y="205"/>
                  <a:pt x="335" y="205"/>
                  <a:pt x="335" y="205"/>
                </a:cubicBezTo>
                <a:cubicBezTo>
                  <a:pt x="330" y="196"/>
                  <a:pt x="341" y="203"/>
                  <a:pt x="345" y="200"/>
                </a:cubicBezTo>
                <a:cubicBezTo>
                  <a:pt x="333" y="195"/>
                  <a:pt x="327" y="188"/>
                  <a:pt x="327" y="186"/>
                </a:cubicBezTo>
                <a:cubicBezTo>
                  <a:pt x="329" y="187"/>
                  <a:pt x="329" y="187"/>
                  <a:pt x="329" y="187"/>
                </a:cubicBezTo>
                <a:cubicBezTo>
                  <a:pt x="328" y="184"/>
                  <a:pt x="319" y="173"/>
                  <a:pt x="318" y="168"/>
                </a:cubicBezTo>
                <a:cubicBezTo>
                  <a:pt x="324" y="172"/>
                  <a:pt x="324" y="172"/>
                  <a:pt x="324" y="172"/>
                </a:cubicBezTo>
                <a:cubicBezTo>
                  <a:pt x="318" y="165"/>
                  <a:pt x="322" y="160"/>
                  <a:pt x="322" y="157"/>
                </a:cubicBezTo>
                <a:cubicBezTo>
                  <a:pt x="326" y="153"/>
                  <a:pt x="339" y="150"/>
                  <a:pt x="332" y="138"/>
                </a:cubicBezTo>
                <a:cubicBezTo>
                  <a:pt x="351" y="143"/>
                  <a:pt x="351" y="143"/>
                  <a:pt x="351" y="143"/>
                </a:cubicBezTo>
                <a:cubicBezTo>
                  <a:pt x="349" y="141"/>
                  <a:pt x="349" y="141"/>
                  <a:pt x="349" y="141"/>
                </a:cubicBezTo>
                <a:cubicBezTo>
                  <a:pt x="349" y="141"/>
                  <a:pt x="294" y="111"/>
                  <a:pt x="232" y="79"/>
                </a:cubicBezTo>
                <a:cubicBezTo>
                  <a:pt x="170" y="46"/>
                  <a:pt x="102" y="12"/>
                  <a:pt x="77" y="6"/>
                </a:cubicBezTo>
                <a:cubicBezTo>
                  <a:pt x="71" y="3"/>
                  <a:pt x="71" y="3"/>
                  <a:pt x="71" y="3"/>
                </a:cubicBezTo>
                <a:cubicBezTo>
                  <a:pt x="71" y="5"/>
                  <a:pt x="71" y="5"/>
                  <a:pt x="71" y="5"/>
                </a:cubicBezTo>
                <a:cubicBezTo>
                  <a:pt x="67" y="6"/>
                  <a:pt x="75" y="11"/>
                  <a:pt x="68" y="8"/>
                </a:cubicBezTo>
                <a:cubicBezTo>
                  <a:pt x="70" y="5"/>
                  <a:pt x="70" y="5"/>
                  <a:pt x="70" y="5"/>
                </a:cubicBezTo>
                <a:cubicBezTo>
                  <a:pt x="67" y="6"/>
                  <a:pt x="64" y="3"/>
                  <a:pt x="61" y="0"/>
                </a:cubicBezTo>
                <a:cubicBezTo>
                  <a:pt x="60" y="1"/>
                  <a:pt x="59" y="1"/>
                  <a:pt x="57" y="1"/>
                </a:cubicBezTo>
                <a:cubicBezTo>
                  <a:pt x="59" y="3"/>
                  <a:pt x="60" y="2"/>
                  <a:pt x="61" y="2"/>
                </a:cubicBezTo>
                <a:cubicBezTo>
                  <a:pt x="63" y="5"/>
                  <a:pt x="69" y="10"/>
                  <a:pt x="65" y="10"/>
                </a:cubicBezTo>
                <a:cubicBezTo>
                  <a:pt x="64" y="13"/>
                  <a:pt x="55" y="5"/>
                  <a:pt x="54" y="8"/>
                </a:cubicBezTo>
                <a:cubicBezTo>
                  <a:pt x="45" y="23"/>
                  <a:pt x="34" y="36"/>
                  <a:pt x="33" y="54"/>
                </a:cubicBezTo>
                <a:cubicBezTo>
                  <a:pt x="30" y="53"/>
                  <a:pt x="30" y="53"/>
                  <a:pt x="29" y="52"/>
                </a:cubicBezTo>
                <a:cubicBezTo>
                  <a:pt x="31" y="58"/>
                  <a:pt x="29" y="62"/>
                  <a:pt x="31" y="69"/>
                </a:cubicBezTo>
                <a:cubicBezTo>
                  <a:pt x="28" y="69"/>
                  <a:pt x="24" y="67"/>
                  <a:pt x="21" y="66"/>
                </a:cubicBezTo>
                <a:cubicBezTo>
                  <a:pt x="26" y="68"/>
                  <a:pt x="22" y="96"/>
                  <a:pt x="20" y="95"/>
                </a:cubicBezTo>
                <a:cubicBezTo>
                  <a:pt x="32" y="101"/>
                  <a:pt x="32" y="101"/>
                  <a:pt x="32" y="101"/>
                </a:cubicBezTo>
                <a:cubicBezTo>
                  <a:pt x="32" y="106"/>
                  <a:pt x="18" y="97"/>
                  <a:pt x="21" y="103"/>
                </a:cubicBezTo>
                <a:cubicBezTo>
                  <a:pt x="37" y="112"/>
                  <a:pt x="17" y="110"/>
                  <a:pt x="26" y="115"/>
                </a:cubicBezTo>
                <a:cubicBezTo>
                  <a:pt x="25" y="115"/>
                  <a:pt x="24" y="117"/>
                  <a:pt x="19" y="115"/>
                </a:cubicBezTo>
                <a:cubicBezTo>
                  <a:pt x="28" y="119"/>
                  <a:pt x="20" y="118"/>
                  <a:pt x="22" y="120"/>
                </a:cubicBezTo>
                <a:cubicBezTo>
                  <a:pt x="25" y="122"/>
                  <a:pt x="25" y="121"/>
                  <a:pt x="28" y="122"/>
                </a:cubicBezTo>
                <a:cubicBezTo>
                  <a:pt x="31" y="127"/>
                  <a:pt x="31" y="127"/>
                  <a:pt x="31" y="127"/>
                </a:cubicBezTo>
                <a:cubicBezTo>
                  <a:pt x="27" y="127"/>
                  <a:pt x="22" y="125"/>
                  <a:pt x="21" y="123"/>
                </a:cubicBezTo>
                <a:cubicBezTo>
                  <a:pt x="17" y="130"/>
                  <a:pt x="1" y="170"/>
                  <a:pt x="4" y="181"/>
                </a:cubicBezTo>
                <a:cubicBezTo>
                  <a:pt x="11" y="183"/>
                  <a:pt x="7" y="178"/>
                  <a:pt x="18" y="181"/>
                </a:cubicBezTo>
                <a:cubicBezTo>
                  <a:pt x="24" y="186"/>
                  <a:pt x="15" y="184"/>
                  <a:pt x="21" y="188"/>
                </a:cubicBezTo>
                <a:cubicBezTo>
                  <a:pt x="5" y="182"/>
                  <a:pt x="17" y="192"/>
                  <a:pt x="0" y="187"/>
                </a:cubicBezTo>
                <a:cubicBezTo>
                  <a:pt x="9" y="192"/>
                  <a:pt x="9" y="192"/>
                  <a:pt x="9" y="192"/>
                </a:cubicBezTo>
                <a:cubicBezTo>
                  <a:pt x="3" y="191"/>
                  <a:pt x="3" y="191"/>
                  <a:pt x="3" y="191"/>
                </a:cubicBezTo>
                <a:cubicBezTo>
                  <a:pt x="11" y="206"/>
                  <a:pt x="8" y="195"/>
                  <a:pt x="4" y="204"/>
                </a:cubicBezTo>
                <a:cubicBezTo>
                  <a:pt x="4" y="211"/>
                  <a:pt x="17" y="219"/>
                  <a:pt x="12" y="220"/>
                </a:cubicBezTo>
                <a:cubicBezTo>
                  <a:pt x="12" y="219"/>
                  <a:pt x="18" y="220"/>
                  <a:pt x="20" y="223"/>
                </a:cubicBezTo>
                <a:cubicBezTo>
                  <a:pt x="12" y="220"/>
                  <a:pt x="25" y="229"/>
                  <a:pt x="17" y="227"/>
                </a:cubicBezTo>
                <a:cubicBezTo>
                  <a:pt x="17" y="228"/>
                  <a:pt x="16" y="233"/>
                  <a:pt x="27" y="235"/>
                </a:cubicBezTo>
                <a:cubicBezTo>
                  <a:pt x="21" y="234"/>
                  <a:pt x="19" y="237"/>
                  <a:pt x="14" y="233"/>
                </a:cubicBezTo>
                <a:cubicBezTo>
                  <a:pt x="14" y="234"/>
                  <a:pt x="12" y="235"/>
                  <a:pt x="14" y="237"/>
                </a:cubicBezTo>
                <a:cubicBezTo>
                  <a:pt x="17" y="236"/>
                  <a:pt x="17" y="236"/>
                  <a:pt x="17" y="236"/>
                </a:cubicBezTo>
                <a:cubicBezTo>
                  <a:pt x="18" y="242"/>
                  <a:pt x="9" y="241"/>
                  <a:pt x="19" y="248"/>
                </a:cubicBezTo>
                <a:cubicBezTo>
                  <a:pt x="24" y="248"/>
                  <a:pt x="24" y="248"/>
                  <a:pt x="24" y="248"/>
                </a:cubicBezTo>
                <a:cubicBezTo>
                  <a:pt x="24" y="251"/>
                  <a:pt x="24" y="254"/>
                  <a:pt x="13" y="251"/>
                </a:cubicBezTo>
                <a:cubicBezTo>
                  <a:pt x="10" y="247"/>
                  <a:pt x="10" y="247"/>
                  <a:pt x="10" y="247"/>
                </a:cubicBezTo>
                <a:cubicBezTo>
                  <a:pt x="10" y="252"/>
                  <a:pt x="10" y="255"/>
                  <a:pt x="16" y="261"/>
                </a:cubicBezTo>
                <a:cubicBezTo>
                  <a:pt x="16" y="260"/>
                  <a:pt x="16" y="260"/>
                  <a:pt x="16" y="260"/>
                </a:cubicBezTo>
                <a:cubicBezTo>
                  <a:pt x="26" y="269"/>
                  <a:pt x="32" y="298"/>
                  <a:pt x="45" y="308"/>
                </a:cubicBezTo>
                <a:cubicBezTo>
                  <a:pt x="54" y="308"/>
                  <a:pt x="54" y="308"/>
                  <a:pt x="54" y="308"/>
                </a:cubicBezTo>
                <a:cubicBezTo>
                  <a:pt x="60" y="315"/>
                  <a:pt x="60" y="315"/>
                  <a:pt x="60" y="315"/>
                </a:cubicBezTo>
                <a:cubicBezTo>
                  <a:pt x="60" y="315"/>
                  <a:pt x="54" y="312"/>
                  <a:pt x="47" y="309"/>
                </a:cubicBezTo>
                <a:cubicBezTo>
                  <a:pt x="41" y="306"/>
                  <a:pt x="34" y="304"/>
                  <a:pt x="36" y="304"/>
                </a:cubicBezTo>
                <a:cubicBezTo>
                  <a:pt x="36" y="313"/>
                  <a:pt x="37" y="359"/>
                  <a:pt x="30" y="365"/>
                </a:cubicBezTo>
                <a:cubicBezTo>
                  <a:pt x="25" y="367"/>
                  <a:pt x="17" y="362"/>
                  <a:pt x="15" y="361"/>
                </a:cubicBezTo>
                <a:cubicBezTo>
                  <a:pt x="18" y="366"/>
                  <a:pt x="24" y="366"/>
                  <a:pt x="23" y="369"/>
                </a:cubicBezTo>
                <a:cubicBezTo>
                  <a:pt x="21" y="369"/>
                  <a:pt x="16" y="367"/>
                  <a:pt x="15" y="366"/>
                </a:cubicBezTo>
                <a:cubicBezTo>
                  <a:pt x="16" y="367"/>
                  <a:pt x="13" y="368"/>
                  <a:pt x="17" y="369"/>
                </a:cubicBezTo>
                <a:cubicBezTo>
                  <a:pt x="20" y="368"/>
                  <a:pt x="31" y="373"/>
                  <a:pt x="38" y="374"/>
                </a:cubicBezTo>
                <a:cubicBezTo>
                  <a:pt x="36" y="378"/>
                  <a:pt x="36" y="378"/>
                  <a:pt x="36" y="378"/>
                </a:cubicBezTo>
                <a:cubicBezTo>
                  <a:pt x="30" y="376"/>
                  <a:pt x="30" y="376"/>
                  <a:pt x="30" y="376"/>
                </a:cubicBezTo>
                <a:cubicBezTo>
                  <a:pt x="29" y="376"/>
                  <a:pt x="48" y="384"/>
                  <a:pt x="44" y="387"/>
                </a:cubicBezTo>
                <a:cubicBezTo>
                  <a:pt x="40" y="393"/>
                  <a:pt x="42" y="401"/>
                  <a:pt x="39" y="408"/>
                </a:cubicBezTo>
                <a:cubicBezTo>
                  <a:pt x="35" y="406"/>
                  <a:pt x="33" y="404"/>
                  <a:pt x="31" y="402"/>
                </a:cubicBezTo>
                <a:cubicBezTo>
                  <a:pt x="31" y="403"/>
                  <a:pt x="31" y="405"/>
                  <a:pt x="28" y="405"/>
                </a:cubicBezTo>
                <a:cubicBezTo>
                  <a:pt x="36" y="405"/>
                  <a:pt x="33" y="409"/>
                  <a:pt x="36" y="409"/>
                </a:cubicBezTo>
                <a:cubicBezTo>
                  <a:pt x="52" y="419"/>
                  <a:pt x="36" y="421"/>
                  <a:pt x="47" y="429"/>
                </a:cubicBezTo>
                <a:cubicBezTo>
                  <a:pt x="62" y="434"/>
                  <a:pt x="299" y="511"/>
                  <a:pt x="317" y="515"/>
                </a:cubicBezTo>
                <a:cubicBezTo>
                  <a:pt x="317" y="517"/>
                  <a:pt x="316" y="518"/>
                  <a:pt x="315" y="518"/>
                </a:cubicBezTo>
                <a:close/>
                <a:moveTo>
                  <a:pt x="608" y="1470"/>
                </a:moveTo>
                <a:cubicBezTo>
                  <a:pt x="609" y="1469"/>
                  <a:pt x="609" y="1469"/>
                  <a:pt x="609" y="1469"/>
                </a:cubicBezTo>
                <a:cubicBezTo>
                  <a:pt x="612" y="1459"/>
                  <a:pt x="595" y="1467"/>
                  <a:pt x="598" y="1457"/>
                </a:cubicBezTo>
                <a:cubicBezTo>
                  <a:pt x="600" y="1457"/>
                  <a:pt x="600" y="1457"/>
                  <a:pt x="600" y="1457"/>
                </a:cubicBezTo>
                <a:cubicBezTo>
                  <a:pt x="603" y="1453"/>
                  <a:pt x="596" y="1452"/>
                  <a:pt x="598" y="1446"/>
                </a:cubicBezTo>
                <a:cubicBezTo>
                  <a:pt x="597" y="1448"/>
                  <a:pt x="593" y="1452"/>
                  <a:pt x="592" y="1450"/>
                </a:cubicBezTo>
                <a:cubicBezTo>
                  <a:pt x="593" y="1444"/>
                  <a:pt x="588" y="1444"/>
                  <a:pt x="591" y="1438"/>
                </a:cubicBezTo>
                <a:cubicBezTo>
                  <a:pt x="584" y="1439"/>
                  <a:pt x="584" y="1439"/>
                  <a:pt x="584" y="1439"/>
                </a:cubicBezTo>
                <a:cubicBezTo>
                  <a:pt x="578" y="1425"/>
                  <a:pt x="542" y="1377"/>
                  <a:pt x="534" y="1363"/>
                </a:cubicBezTo>
                <a:cubicBezTo>
                  <a:pt x="536" y="1363"/>
                  <a:pt x="536" y="1363"/>
                  <a:pt x="536" y="1363"/>
                </a:cubicBezTo>
                <a:cubicBezTo>
                  <a:pt x="522" y="1344"/>
                  <a:pt x="503" y="1300"/>
                  <a:pt x="484" y="1281"/>
                </a:cubicBezTo>
                <a:cubicBezTo>
                  <a:pt x="489" y="1275"/>
                  <a:pt x="486" y="1271"/>
                  <a:pt x="486" y="1266"/>
                </a:cubicBezTo>
                <a:cubicBezTo>
                  <a:pt x="484" y="1270"/>
                  <a:pt x="479" y="1271"/>
                  <a:pt x="479" y="1269"/>
                </a:cubicBezTo>
                <a:cubicBezTo>
                  <a:pt x="475" y="1258"/>
                  <a:pt x="474" y="1271"/>
                  <a:pt x="467" y="1261"/>
                </a:cubicBezTo>
                <a:cubicBezTo>
                  <a:pt x="455" y="1250"/>
                  <a:pt x="443" y="1197"/>
                  <a:pt x="444" y="1183"/>
                </a:cubicBezTo>
                <a:cubicBezTo>
                  <a:pt x="432" y="1181"/>
                  <a:pt x="437" y="1170"/>
                  <a:pt x="429" y="1166"/>
                </a:cubicBezTo>
                <a:cubicBezTo>
                  <a:pt x="431" y="1166"/>
                  <a:pt x="431" y="1166"/>
                  <a:pt x="431" y="1166"/>
                </a:cubicBezTo>
                <a:cubicBezTo>
                  <a:pt x="425" y="1160"/>
                  <a:pt x="421" y="1119"/>
                  <a:pt x="415" y="1113"/>
                </a:cubicBezTo>
                <a:cubicBezTo>
                  <a:pt x="414" y="1114"/>
                  <a:pt x="414" y="1114"/>
                  <a:pt x="414" y="1114"/>
                </a:cubicBezTo>
                <a:cubicBezTo>
                  <a:pt x="406" y="1109"/>
                  <a:pt x="417" y="1107"/>
                  <a:pt x="419" y="1100"/>
                </a:cubicBezTo>
                <a:cubicBezTo>
                  <a:pt x="408" y="1105"/>
                  <a:pt x="400" y="1101"/>
                  <a:pt x="398" y="1099"/>
                </a:cubicBezTo>
                <a:cubicBezTo>
                  <a:pt x="401" y="1098"/>
                  <a:pt x="401" y="1098"/>
                  <a:pt x="401" y="1098"/>
                </a:cubicBezTo>
                <a:cubicBezTo>
                  <a:pt x="398" y="1095"/>
                  <a:pt x="386" y="1091"/>
                  <a:pt x="383" y="1086"/>
                </a:cubicBezTo>
                <a:cubicBezTo>
                  <a:pt x="389" y="1084"/>
                  <a:pt x="389" y="1084"/>
                  <a:pt x="389" y="1084"/>
                </a:cubicBezTo>
                <a:cubicBezTo>
                  <a:pt x="381" y="1081"/>
                  <a:pt x="381" y="1072"/>
                  <a:pt x="379" y="1068"/>
                </a:cubicBezTo>
                <a:cubicBezTo>
                  <a:pt x="379" y="1060"/>
                  <a:pt x="387" y="1045"/>
                  <a:pt x="376" y="1037"/>
                </a:cubicBezTo>
                <a:cubicBezTo>
                  <a:pt x="391" y="1025"/>
                  <a:pt x="391" y="1025"/>
                  <a:pt x="391" y="1025"/>
                </a:cubicBezTo>
                <a:cubicBezTo>
                  <a:pt x="389" y="1025"/>
                  <a:pt x="389" y="1025"/>
                  <a:pt x="389" y="1025"/>
                </a:cubicBezTo>
                <a:cubicBezTo>
                  <a:pt x="389" y="1025"/>
                  <a:pt x="336" y="1037"/>
                  <a:pt x="278" y="1052"/>
                </a:cubicBezTo>
                <a:cubicBezTo>
                  <a:pt x="220" y="1068"/>
                  <a:pt x="157" y="1086"/>
                  <a:pt x="136" y="1101"/>
                </a:cubicBezTo>
                <a:cubicBezTo>
                  <a:pt x="130" y="1102"/>
                  <a:pt x="130" y="1102"/>
                  <a:pt x="130" y="1102"/>
                </a:cubicBezTo>
                <a:cubicBezTo>
                  <a:pt x="132" y="1105"/>
                  <a:pt x="132" y="1105"/>
                  <a:pt x="132" y="1105"/>
                </a:cubicBezTo>
                <a:cubicBezTo>
                  <a:pt x="130" y="1110"/>
                  <a:pt x="138" y="1109"/>
                  <a:pt x="132" y="1111"/>
                </a:cubicBezTo>
                <a:cubicBezTo>
                  <a:pt x="131" y="1106"/>
                  <a:pt x="131" y="1106"/>
                  <a:pt x="131" y="1106"/>
                </a:cubicBezTo>
                <a:cubicBezTo>
                  <a:pt x="130" y="1110"/>
                  <a:pt x="126" y="1108"/>
                  <a:pt x="122" y="1108"/>
                </a:cubicBezTo>
                <a:cubicBezTo>
                  <a:pt x="122" y="1109"/>
                  <a:pt x="122" y="1111"/>
                  <a:pt x="120" y="1113"/>
                </a:cubicBezTo>
                <a:cubicBezTo>
                  <a:pt x="123" y="1113"/>
                  <a:pt x="123" y="1112"/>
                  <a:pt x="124" y="1111"/>
                </a:cubicBezTo>
                <a:cubicBezTo>
                  <a:pt x="127" y="1112"/>
                  <a:pt x="133" y="1113"/>
                  <a:pt x="131" y="1117"/>
                </a:cubicBezTo>
                <a:cubicBezTo>
                  <a:pt x="131" y="1121"/>
                  <a:pt x="121" y="1120"/>
                  <a:pt x="122" y="1124"/>
                </a:cubicBezTo>
                <a:cubicBezTo>
                  <a:pt x="124" y="1150"/>
                  <a:pt x="124" y="1175"/>
                  <a:pt x="133" y="1199"/>
                </a:cubicBezTo>
                <a:cubicBezTo>
                  <a:pt x="131" y="1200"/>
                  <a:pt x="131" y="1199"/>
                  <a:pt x="129" y="1199"/>
                </a:cubicBezTo>
                <a:cubicBezTo>
                  <a:pt x="134" y="1205"/>
                  <a:pt x="135" y="1212"/>
                  <a:pt x="140" y="1218"/>
                </a:cubicBezTo>
                <a:cubicBezTo>
                  <a:pt x="138" y="1221"/>
                  <a:pt x="135" y="1222"/>
                  <a:pt x="132" y="1224"/>
                </a:cubicBezTo>
                <a:cubicBezTo>
                  <a:pt x="137" y="1221"/>
                  <a:pt x="150" y="1258"/>
                  <a:pt x="149" y="1259"/>
                </a:cubicBezTo>
                <a:cubicBezTo>
                  <a:pt x="160" y="1256"/>
                  <a:pt x="160" y="1256"/>
                  <a:pt x="160" y="1256"/>
                </a:cubicBezTo>
                <a:cubicBezTo>
                  <a:pt x="162" y="1263"/>
                  <a:pt x="148" y="1262"/>
                  <a:pt x="153" y="1268"/>
                </a:cubicBezTo>
                <a:cubicBezTo>
                  <a:pt x="169" y="1265"/>
                  <a:pt x="155" y="1279"/>
                  <a:pt x="164" y="1278"/>
                </a:cubicBezTo>
                <a:cubicBezTo>
                  <a:pt x="163" y="1279"/>
                  <a:pt x="164" y="1282"/>
                  <a:pt x="159" y="1284"/>
                </a:cubicBezTo>
                <a:cubicBezTo>
                  <a:pt x="167" y="1282"/>
                  <a:pt x="162" y="1286"/>
                  <a:pt x="165" y="1288"/>
                </a:cubicBezTo>
                <a:cubicBezTo>
                  <a:pt x="167" y="1287"/>
                  <a:pt x="167" y="1286"/>
                  <a:pt x="169" y="1285"/>
                </a:cubicBezTo>
                <a:cubicBezTo>
                  <a:pt x="174" y="1288"/>
                  <a:pt x="174" y="1288"/>
                  <a:pt x="174" y="1288"/>
                </a:cubicBezTo>
                <a:cubicBezTo>
                  <a:pt x="172" y="1291"/>
                  <a:pt x="167" y="1293"/>
                  <a:pt x="165" y="1292"/>
                </a:cubicBezTo>
                <a:cubicBezTo>
                  <a:pt x="167" y="1305"/>
                  <a:pt x="181" y="1365"/>
                  <a:pt x="190" y="1376"/>
                </a:cubicBezTo>
                <a:cubicBezTo>
                  <a:pt x="196" y="1372"/>
                  <a:pt x="190" y="1370"/>
                  <a:pt x="199" y="1364"/>
                </a:cubicBezTo>
                <a:cubicBezTo>
                  <a:pt x="206" y="1365"/>
                  <a:pt x="199" y="1370"/>
                  <a:pt x="205" y="1369"/>
                </a:cubicBezTo>
                <a:cubicBezTo>
                  <a:pt x="192" y="1377"/>
                  <a:pt x="205" y="1378"/>
                  <a:pt x="192" y="1387"/>
                </a:cubicBezTo>
                <a:cubicBezTo>
                  <a:pt x="200" y="1384"/>
                  <a:pt x="200" y="1384"/>
                  <a:pt x="200" y="1384"/>
                </a:cubicBezTo>
                <a:cubicBezTo>
                  <a:pt x="196" y="1388"/>
                  <a:pt x="196" y="1388"/>
                  <a:pt x="196" y="1388"/>
                </a:cubicBezTo>
                <a:cubicBezTo>
                  <a:pt x="210" y="1399"/>
                  <a:pt x="201" y="1390"/>
                  <a:pt x="205" y="1404"/>
                </a:cubicBezTo>
                <a:cubicBezTo>
                  <a:pt x="209" y="1411"/>
                  <a:pt x="222" y="1409"/>
                  <a:pt x="220" y="1415"/>
                </a:cubicBezTo>
                <a:cubicBezTo>
                  <a:pt x="219" y="1414"/>
                  <a:pt x="224" y="1410"/>
                  <a:pt x="226" y="1411"/>
                </a:cubicBezTo>
                <a:cubicBezTo>
                  <a:pt x="220" y="1415"/>
                  <a:pt x="234" y="1414"/>
                  <a:pt x="227" y="1418"/>
                </a:cubicBezTo>
                <a:cubicBezTo>
                  <a:pt x="229" y="1420"/>
                  <a:pt x="230" y="1426"/>
                  <a:pt x="239" y="1420"/>
                </a:cubicBezTo>
                <a:cubicBezTo>
                  <a:pt x="235" y="1423"/>
                  <a:pt x="235" y="1430"/>
                  <a:pt x="230" y="1428"/>
                </a:cubicBezTo>
                <a:cubicBezTo>
                  <a:pt x="230" y="1430"/>
                  <a:pt x="230" y="1433"/>
                  <a:pt x="232" y="1433"/>
                </a:cubicBezTo>
                <a:cubicBezTo>
                  <a:pt x="234" y="1429"/>
                  <a:pt x="234" y="1429"/>
                  <a:pt x="234" y="1429"/>
                </a:cubicBezTo>
                <a:cubicBezTo>
                  <a:pt x="238" y="1435"/>
                  <a:pt x="232" y="1442"/>
                  <a:pt x="242" y="1442"/>
                </a:cubicBezTo>
                <a:cubicBezTo>
                  <a:pt x="245" y="1438"/>
                  <a:pt x="245" y="1438"/>
                  <a:pt x="245" y="1438"/>
                </a:cubicBezTo>
                <a:cubicBezTo>
                  <a:pt x="247" y="1441"/>
                  <a:pt x="249" y="1444"/>
                  <a:pt x="241" y="1450"/>
                </a:cubicBezTo>
                <a:cubicBezTo>
                  <a:pt x="236" y="1447"/>
                  <a:pt x="236" y="1447"/>
                  <a:pt x="236" y="1447"/>
                </a:cubicBezTo>
                <a:cubicBezTo>
                  <a:pt x="239" y="1454"/>
                  <a:pt x="242" y="1457"/>
                  <a:pt x="249" y="1459"/>
                </a:cubicBezTo>
                <a:cubicBezTo>
                  <a:pt x="248" y="1458"/>
                  <a:pt x="248" y="1458"/>
                  <a:pt x="248" y="1458"/>
                </a:cubicBezTo>
                <a:cubicBezTo>
                  <a:pt x="260" y="1459"/>
                  <a:pt x="284" y="1489"/>
                  <a:pt x="298" y="1488"/>
                </a:cubicBezTo>
                <a:cubicBezTo>
                  <a:pt x="304" y="1482"/>
                  <a:pt x="304" y="1482"/>
                  <a:pt x="304" y="1482"/>
                </a:cubicBezTo>
                <a:cubicBezTo>
                  <a:pt x="312" y="1483"/>
                  <a:pt x="312" y="1483"/>
                  <a:pt x="312" y="1483"/>
                </a:cubicBezTo>
                <a:cubicBezTo>
                  <a:pt x="312" y="1483"/>
                  <a:pt x="288" y="1494"/>
                  <a:pt x="290" y="1492"/>
                </a:cubicBezTo>
                <a:cubicBezTo>
                  <a:pt x="296" y="1503"/>
                  <a:pt x="329" y="1555"/>
                  <a:pt x="330" y="1567"/>
                </a:cubicBezTo>
                <a:cubicBezTo>
                  <a:pt x="328" y="1574"/>
                  <a:pt x="319" y="1575"/>
                  <a:pt x="318" y="1575"/>
                </a:cubicBezTo>
                <a:cubicBezTo>
                  <a:pt x="323" y="1579"/>
                  <a:pt x="326" y="1573"/>
                  <a:pt x="328" y="1577"/>
                </a:cubicBezTo>
                <a:cubicBezTo>
                  <a:pt x="327" y="1579"/>
                  <a:pt x="322" y="1580"/>
                  <a:pt x="321" y="1580"/>
                </a:cubicBezTo>
                <a:cubicBezTo>
                  <a:pt x="323" y="1582"/>
                  <a:pt x="321" y="1585"/>
                  <a:pt x="324" y="1583"/>
                </a:cubicBezTo>
                <a:cubicBezTo>
                  <a:pt x="326" y="1579"/>
                  <a:pt x="335" y="1575"/>
                  <a:pt x="340" y="1571"/>
                </a:cubicBezTo>
                <a:cubicBezTo>
                  <a:pt x="342" y="1576"/>
                  <a:pt x="342" y="1576"/>
                  <a:pt x="342" y="1576"/>
                </a:cubicBezTo>
                <a:cubicBezTo>
                  <a:pt x="336" y="1579"/>
                  <a:pt x="336" y="1579"/>
                  <a:pt x="336" y="1579"/>
                </a:cubicBezTo>
                <a:cubicBezTo>
                  <a:pt x="337" y="1581"/>
                  <a:pt x="353" y="1573"/>
                  <a:pt x="353" y="1580"/>
                </a:cubicBezTo>
                <a:cubicBezTo>
                  <a:pt x="355" y="1590"/>
                  <a:pt x="362" y="1598"/>
                  <a:pt x="365" y="1608"/>
                </a:cubicBezTo>
                <a:cubicBezTo>
                  <a:pt x="362" y="1609"/>
                  <a:pt x="359" y="1609"/>
                  <a:pt x="356" y="1608"/>
                </a:cubicBezTo>
                <a:cubicBezTo>
                  <a:pt x="357" y="1610"/>
                  <a:pt x="358" y="1611"/>
                  <a:pt x="357" y="1613"/>
                </a:cubicBezTo>
                <a:cubicBezTo>
                  <a:pt x="361" y="1608"/>
                  <a:pt x="362" y="1614"/>
                  <a:pt x="364" y="1611"/>
                </a:cubicBezTo>
                <a:cubicBezTo>
                  <a:pt x="381" y="1609"/>
                  <a:pt x="373" y="1625"/>
                  <a:pt x="385" y="1625"/>
                </a:cubicBezTo>
                <a:cubicBezTo>
                  <a:pt x="397" y="1618"/>
                  <a:pt x="593" y="1502"/>
                  <a:pt x="606" y="1492"/>
                </a:cubicBezTo>
                <a:cubicBezTo>
                  <a:pt x="607" y="1494"/>
                  <a:pt x="608" y="1496"/>
                  <a:pt x="607" y="1497"/>
                </a:cubicBezTo>
                <a:cubicBezTo>
                  <a:pt x="610" y="1494"/>
                  <a:pt x="610" y="1490"/>
                  <a:pt x="607" y="1490"/>
                </a:cubicBezTo>
                <a:cubicBezTo>
                  <a:pt x="599" y="1495"/>
                  <a:pt x="599" y="1495"/>
                  <a:pt x="599" y="1495"/>
                </a:cubicBezTo>
                <a:cubicBezTo>
                  <a:pt x="595" y="1493"/>
                  <a:pt x="603" y="1491"/>
                  <a:pt x="601" y="1488"/>
                </a:cubicBezTo>
                <a:cubicBezTo>
                  <a:pt x="607" y="1484"/>
                  <a:pt x="610" y="1486"/>
                  <a:pt x="612" y="1488"/>
                </a:cubicBezTo>
                <a:cubicBezTo>
                  <a:pt x="611" y="1485"/>
                  <a:pt x="614" y="1480"/>
                  <a:pt x="607" y="1483"/>
                </a:cubicBezTo>
                <a:cubicBezTo>
                  <a:pt x="608" y="1479"/>
                  <a:pt x="615" y="1479"/>
                  <a:pt x="616" y="1474"/>
                </a:cubicBezTo>
                <a:cubicBezTo>
                  <a:pt x="613" y="1473"/>
                  <a:pt x="605" y="1475"/>
                  <a:pt x="608" y="1470"/>
                </a:cubicBezTo>
                <a:close/>
                <a:moveTo>
                  <a:pt x="1313" y="2196"/>
                </a:moveTo>
                <a:cubicBezTo>
                  <a:pt x="1309" y="2205"/>
                  <a:pt x="1309" y="2205"/>
                  <a:pt x="1309" y="2205"/>
                </a:cubicBezTo>
                <a:cubicBezTo>
                  <a:pt x="1304" y="2206"/>
                  <a:pt x="1310" y="2199"/>
                  <a:pt x="1307" y="2198"/>
                </a:cubicBezTo>
                <a:cubicBezTo>
                  <a:pt x="1310" y="2190"/>
                  <a:pt x="1313" y="2191"/>
                  <a:pt x="1316" y="2191"/>
                </a:cubicBezTo>
                <a:cubicBezTo>
                  <a:pt x="1314" y="2189"/>
                  <a:pt x="1314" y="2183"/>
                  <a:pt x="1310" y="2190"/>
                </a:cubicBezTo>
                <a:cubicBezTo>
                  <a:pt x="1309" y="2186"/>
                  <a:pt x="1314" y="2181"/>
                  <a:pt x="1312" y="2177"/>
                </a:cubicBezTo>
                <a:cubicBezTo>
                  <a:pt x="1309" y="2178"/>
                  <a:pt x="1304" y="2183"/>
                  <a:pt x="1304" y="2178"/>
                </a:cubicBezTo>
                <a:cubicBezTo>
                  <a:pt x="1304" y="2177"/>
                  <a:pt x="1304" y="2177"/>
                  <a:pt x="1304" y="2177"/>
                </a:cubicBezTo>
                <a:cubicBezTo>
                  <a:pt x="1302" y="2166"/>
                  <a:pt x="1291" y="2183"/>
                  <a:pt x="1290" y="2173"/>
                </a:cubicBezTo>
                <a:cubicBezTo>
                  <a:pt x="1291" y="2171"/>
                  <a:pt x="1291" y="2171"/>
                  <a:pt x="1291" y="2171"/>
                </a:cubicBezTo>
                <a:cubicBezTo>
                  <a:pt x="1291" y="2166"/>
                  <a:pt x="1285" y="2169"/>
                  <a:pt x="1284" y="2163"/>
                </a:cubicBezTo>
                <a:cubicBezTo>
                  <a:pt x="1285" y="2165"/>
                  <a:pt x="1283" y="2171"/>
                  <a:pt x="1281" y="2170"/>
                </a:cubicBezTo>
                <a:cubicBezTo>
                  <a:pt x="1279" y="2164"/>
                  <a:pt x="1275" y="2167"/>
                  <a:pt x="1275" y="2160"/>
                </a:cubicBezTo>
                <a:cubicBezTo>
                  <a:pt x="1269" y="2165"/>
                  <a:pt x="1269" y="2165"/>
                  <a:pt x="1269" y="2165"/>
                </a:cubicBezTo>
                <a:cubicBezTo>
                  <a:pt x="1257" y="2157"/>
                  <a:pt x="1204" y="2137"/>
                  <a:pt x="1192" y="2129"/>
                </a:cubicBezTo>
                <a:cubicBezTo>
                  <a:pt x="1193" y="2128"/>
                  <a:pt x="1193" y="2128"/>
                  <a:pt x="1193" y="2128"/>
                </a:cubicBezTo>
                <a:cubicBezTo>
                  <a:pt x="1172" y="2120"/>
                  <a:pt x="1135" y="2093"/>
                  <a:pt x="1111" y="2088"/>
                </a:cubicBezTo>
                <a:cubicBezTo>
                  <a:pt x="1112" y="2079"/>
                  <a:pt x="1107" y="2078"/>
                  <a:pt x="1105" y="2074"/>
                </a:cubicBezTo>
                <a:cubicBezTo>
                  <a:pt x="1105" y="2078"/>
                  <a:pt x="1102" y="2082"/>
                  <a:pt x="1101" y="2081"/>
                </a:cubicBezTo>
                <a:cubicBezTo>
                  <a:pt x="1092" y="2073"/>
                  <a:pt x="1098" y="2085"/>
                  <a:pt x="1087" y="2080"/>
                </a:cubicBezTo>
                <a:cubicBezTo>
                  <a:pt x="1073" y="2078"/>
                  <a:pt x="1036" y="2039"/>
                  <a:pt x="1031" y="2026"/>
                </a:cubicBezTo>
                <a:cubicBezTo>
                  <a:pt x="1020" y="2031"/>
                  <a:pt x="1018" y="2019"/>
                  <a:pt x="1010" y="2021"/>
                </a:cubicBezTo>
                <a:cubicBezTo>
                  <a:pt x="1012" y="2019"/>
                  <a:pt x="1012" y="2019"/>
                  <a:pt x="1012" y="2019"/>
                </a:cubicBezTo>
                <a:cubicBezTo>
                  <a:pt x="1004" y="2018"/>
                  <a:pt x="981" y="1985"/>
                  <a:pt x="973" y="1983"/>
                </a:cubicBezTo>
                <a:cubicBezTo>
                  <a:pt x="973" y="1984"/>
                  <a:pt x="973" y="1984"/>
                  <a:pt x="973" y="1984"/>
                </a:cubicBezTo>
                <a:cubicBezTo>
                  <a:pt x="964" y="1985"/>
                  <a:pt x="971" y="1976"/>
                  <a:pt x="969" y="1970"/>
                </a:cubicBezTo>
                <a:cubicBezTo>
                  <a:pt x="963" y="1980"/>
                  <a:pt x="954" y="1981"/>
                  <a:pt x="952" y="1981"/>
                </a:cubicBezTo>
                <a:cubicBezTo>
                  <a:pt x="954" y="1979"/>
                  <a:pt x="954" y="1979"/>
                  <a:pt x="954" y="1979"/>
                </a:cubicBezTo>
                <a:cubicBezTo>
                  <a:pt x="950" y="1978"/>
                  <a:pt x="938" y="1981"/>
                  <a:pt x="933" y="1978"/>
                </a:cubicBezTo>
                <a:cubicBezTo>
                  <a:pt x="937" y="1973"/>
                  <a:pt x="937" y="1973"/>
                  <a:pt x="937" y="1973"/>
                </a:cubicBezTo>
                <a:cubicBezTo>
                  <a:pt x="929" y="1976"/>
                  <a:pt x="925" y="1967"/>
                  <a:pt x="922" y="1966"/>
                </a:cubicBezTo>
                <a:cubicBezTo>
                  <a:pt x="918" y="1958"/>
                  <a:pt x="916" y="1941"/>
                  <a:pt x="903" y="1940"/>
                </a:cubicBezTo>
                <a:cubicBezTo>
                  <a:pt x="910" y="1921"/>
                  <a:pt x="910" y="1921"/>
                  <a:pt x="910" y="1921"/>
                </a:cubicBezTo>
                <a:cubicBezTo>
                  <a:pt x="909" y="1922"/>
                  <a:pt x="909" y="1922"/>
                  <a:pt x="909" y="1922"/>
                </a:cubicBezTo>
                <a:cubicBezTo>
                  <a:pt x="909" y="1922"/>
                  <a:pt x="871" y="1964"/>
                  <a:pt x="831" y="2012"/>
                </a:cubicBezTo>
                <a:cubicBezTo>
                  <a:pt x="791" y="2060"/>
                  <a:pt x="749" y="2114"/>
                  <a:pt x="739" y="2138"/>
                </a:cubicBezTo>
                <a:cubicBezTo>
                  <a:pt x="735" y="2143"/>
                  <a:pt x="735" y="2143"/>
                  <a:pt x="735" y="2143"/>
                </a:cubicBezTo>
                <a:cubicBezTo>
                  <a:pt x="738" y="2145"/>
                  <a:pt x="738" y="2145"/>
                  <a:pt x="738" y="2145"/>
                </a:cubicBezTo>
                <a:cubicBezTo>
                  <a:pt x="739" y="2150"/>
                  <a:pt x="744" y="2145"/>
                  <a:pt x="740" y="2150"/>
                </a:cubicBezTo>
                <a:cubicBezTo>
                  <a:pt x="737" y="2146"/>
                  <a:pt x="737" y="2146"/>
                  <a:pt x="737" y="2146"/>
                </a:cubicBezTo>
                <a:cubicBezTo>
                  <a:pt x="739" y="2150"/>
                  <a:pt x="735" y="2151"/>
                  <a:pt x="731" y="2153"/>
                </a:cubicBezTo>
                <a:cubicBezTo>
                  <a:pt x="732" y="2155"/>
                  <a:pt x="733" y="2156"/>
                  <a:pt x="732" y="2159"/>
                </a:cubicBezTo>
                <a:cubicBezTo>
                  <a:pt x="734" y="2157"/>
                  <a:pt x="733" y="2156"/>
                  <a:pt x="734" y="2155"/>
                </a:cubicBezTo>
                <a:cubicBezTo>
                  <a:pt x="737" y="2154"/>
                  <a:pt x="743" y="2151"/>
                  <a:pt x="743" y="2155"/>
                </a:cubicBezTo>
                <a:cubicBezTo>
                  <a:pt x="745" y="2159"/>
                  <a:pt x="736" y="2164"/>
                  <a:pt x="739" y="2168"/>
                </a:cubicBezTo>
                <a:cubicBezTo>
                  <a:pt x="753" y="2188"/>
                  <a:pt x="765" y="2211"/>
                  <a:pt x="784" y="2226"/>
                </a:cubicBezTo>
                <a:cubicBezTo>
                  <a:pt x="783" y="2228"/>
                  <a:pt x="783" y="2228"/>
                  <a:pt x="781" y="2228"/>
                </a:cubicBezTo>
                <a:cubicBezTo>
                  <a:pt x="788" y="2231"/>
                  <a:pt x="793" y="2236"/>
                  <a:pt x="799" y="2238"/>
                </a:cubicBezTo>
                <a:cubicBezTo>
                  <a:pt x="799" y="2242"/>
                  <a:pt x="797" y="2245"/>
                  <a:pt x="796" y="2248"/>
                </a:cubicBezTo>
                <a:cubicBezTo>
                  <a:pt x="798" y="2243"/>
                  <a:pt x="827" y="2267"/>
                  <a:pt x="827" y="2269"/>
                </a:cubicBezTo>
                <a:cubicBezTo>
                  <a:pt x="834" y="2259"/>
                  <a:pt x="834" y="2259"/>
                  <a:pt x="834" y="2259"/>
                </a:cubicBezTo>
                <a:cubicBezTo>
                  <a:pt x="839" y="2264"/>
                  <a:pt x="828" y="2272"/>
                  <a:pt x="834" y="2274"/>
                </a:cubicBezTo>
                <a:cubicBezTo>
                  <a:pt x="846" y="2262"/>
                  <a:pt x="842" y="2282"/>
                  <a:pt x="848" y="2276"/>
                </a:cubicBezTo>
                <a:cubicBezTo>
                  <a:pt x="848" y="2278"/>
                  <a:pt x="850" y="2280"/>
                  <a:pt x="847" y="2284"/>
                </a:cubicBezTo>
                <a:cubicBezTo>
                  <a:pt x="853" y="2277"/>
                  <a:pt x="850" y="2285"/>
                  <a:pt x="853" y="2284"/>
                </a:cubicBezTo>
                <a:cubicBezTo>
                  <a:pt x="855" y="2282"/>
                  <a:pt x="854" y="2281"/>
                  <a:pt x="856" y="2279"/>
                </a:cubicBezTo>
                <a:cubicBezTo>
                  <a:pt x="861" y="2279"/>
                  <a:pt x="861" y="2279"/>
                  <a:pt x="861" y="2279"/>
                </a:cubicBezTo>
                <a:cubicBezTo>
                  <a:pt x="861" y="2283"/>
                  <a:pt x="858" y="2287"/>
                  <a:pt x="856" y="2287"/>
                </a:cubicBezTo>
                <a:cubicBezTo>
                  <a:pt x="863" y="2298"/>
                  <a:pt x="905" y="2342"/>
                  <a:pt x="918" y="2346"/>
                </a:cubicBezTo>
                <a:cubicBezTo>
                  <a:pt x="920" y="2339"/>
                  <a:pt x="914" y="2340"/>
                  <a:pt x="919" y="2330"/>
                </a:cubicBezTo>
                <a:cubicBezTo>
                  <a:pt x="925" y="2327"/>
                  <a:pt x="922" y="2335"/>
                  <a:pt x="926" y="2330"/>
                </a:cubicBezTo>
                <a:cubicBezTo>
                  <a:pt x="919" y="2345"/>
                  <a:pt x="930" y="2338"/>
                  <a:pt x="924" y="2354"/>
                </a:cubicBezTo>
                <a:cubicBezTo>
                  <a:pt x="929" y="2347"/>
                  <a:pt x="929" y="2347"/>
                  <a:pt x="929" y="2347"/>
                </a:cubicBezTo>
                <a:cubicBezTo>
                  <a:pt x="928" y="2353"/>
                  <a:pt x="928" y="2353"/>
                  <a:pt x="928" y="2353"/>
                </a:cubicBezTo>
                <a:cubicBezTo>
                  <a:pt x="945" y="2354"/>
                  <a:pt x="933" y="2351"/>
                  <a:pt x="943" y="2361"/>
                </a:cubicBezTo>
                <a:cubicBezTo>
                  <a:pt x="950" y="2364"/>
                  <a:pt x="959" y="2355"/>
                  <a:pt x="960" y="2362"/>
                </a:cubicBezTo>
                <a:cubicBezTo>
                  <a:pt x="960" y="2362"/>
                  <a:pt x="961" y="2356"/>
                  <a:pt x="964" y="2355"/>
                </a:cubicBezTo>
                <a:cubicBezTo>
                  <a:pt x="960" y="2362"/>
                  <a:pt x="971" y="2353"/>
                  <a:pt x="968" y="2361"/>
                </a:cubicBezTo>
                <a:cubicBezTo>
                  <a:pt x="970" y="2361"/>
                  <a:pt x="975" y="2366"/>
                  <a:pt x="978" y="2355"/>
                </a:cubicBezTo>
                <a:cubicBezTo>
                  <a:pt x="977" y="2360"/>
                  <a:pt x="980" y="2365"/>
                  <a:pt x="975" y="2368"/>
                </a:cubicBezTo>
                <a:cubicBezTo>
                  <a:pt x="976" y="2369"/>
                  <a:pt x="977" y="2372"/>
                  <a:pt x="979" y="2370"/>
                </a:cubicBezTo>
                <a:cubicBezTo>
                  <a:pt x="979" y="2366"/>
                  <a:pt x="979" y="2366"/>
                  <a:pt x="979" y="2366"/>
                </a:cubicBezTo>
                <a:cubicBezTo>
                  <a:pt x="985" y="2368"/>
                  <a:pt x="984" y="2378"/>
                  <a:pt x="992" y="2372"/>
                </a:cubicBezTo>
                <a:cubicBezTo>
                  <a:pt x="992" y="2366"/>
                  <a:pt x="992" y="2366"/>
                  <a:pt x="992" y="2366"/>
                </a:cubicBezTo>
                <a:cubicBezTo>
                  <a:pt x="996" y="2368"/>
                  <a:pt x="999" y="2369"/>
                  <a:pt x="995" y="2380"/>
                </a:cubicBezTo>
                <a:cubicBezTo>
                  <a:pt x="990" y="2380"/>
                  <a:pt x="990" y="2380"/>
                  <a:pt x="990" y="2380"/>
                </a:cubicBezTo>
                <a:cubicBezTo>
                  <a:pt x="995" y="2384"/>
                  <a:pt x="999" y="2385"/>
                  <a:pt x="1006" y="2383"/>
                </a:cubicBezTo>
                <a:cubicBezTo>
                  <a:pt x="1004" y="2382"/>
                  <a:pt x="1004" y="2382"/>
                  <a:pt x="1004" y="2382"/>
                </a:cubicBezTo>
                <a:cubicBezTo>
                  <a:pt x="1015" y="2376"/>
                  <a:pt x="1049" y="2388"/>
                  <a:pt x="1060" y="2379"/>
                </a:cubicBezTo>
                <a:cubicBezTo>
                  <a:pt x="1062" y="2370"/>
                  <a:pt x="1062" y="2370"/>
                  <a:pt x="1062" y="2370"/>
                </a:cubicBezTo>
                <a:cubicBezTo>
                  <a:pt x="1069" y="2366"/>
                  <a:pt x="1069" y="2366"/>
                  <a:pt x="1069" y="2366"/>
                </a:cubicBezTo>
                <a:cubicBezTo>
                  <a:pt x="1069" y="2366"/>
                  <a:pt x="1054" y="2390"/>
                  <a:pt x="1055" y="2387"/>
                </a:cubicBezTo>
                <a:cubicBezTo>
                  <a:pt x="1065" y="2393"/>
                  <a:pt x="1118" y="2419"/>
                  <a:pt x="1124" y="2429"/>
                </a:cubicBezTo>
                <a:cubicBezTo>
                  <a:pt x="1126" y="2435"/>
                  <a:pt x="1119" y="2442"/>
                  <a:pt x="1119" y="2443"/>
                </a:cubicBezTo>
                <a:cubicBezTo>
                  <a:pt x="1124" y="2443"/>
                  <a:pt x="1124" y="2436"/>
                  <a:pt x="1128" y="2439"/>
                </a:cubicBezTo>
                <a:cubicBezTo>
                  <a:pt x="1128" y="2441"/>
                  <a:pt x="1125" y="2445"/>
                  <a:pt x="1124" y="2445"/>
                </a:cubicBezTo>
                <a:cubicBezTo>
                  <a:pt x="1126" y="2446"/>
                  <a:pt x="1126" y="2449"/>
                  <a:pt x="1128" y="2446"/>
                </a:cubicBezTo>
                <a:cubicBezTo>
                  <a:pt x="1127" y="2441"/>
                  <a:pt x="1132" y="2432"/>
                  <a:pt x="1134" y="2425"/>
                </a:cubicBezTo>
                <a:cubicBezTo>
                  <a:pt x="1139" y="2429"/>
                  <a:pt x="1139" y="2429"/>
                  <a:pt x="1139" y="2429"/>
                </a:cubicBezTo>
                <a:cubicBezTo>
                  <a:pt x="1136" y="2435"/>
                  <a:pt x="1136" y="2435"/>
                  <a:pt x="1136" y="2435"/>
                </a:cubicBezTo>
                <a:cubicBezTo>
                  <a:pt x="1137" y="2436"/>
                  <a:pt x="1146" y="2420"/>
                  <a:pt x="1149" y="2426"/>
                </a:cubicBezTo>
                <a:cubicBezTo>
                  <a:pt x="1156" y="2433"/>
                  <a:pt x="1166" y="2436"/>
                  <a:pt x="1173" y="2442"/>
                </a:cubicBezTo>
                <a:cubicBezTo>
                  <a:pt x="1171" y="2446"/>
                  <a:pt x="1169" y="2447"/>
                  <a:pt x="1166" y="2448"/>
                </a:cubicBezTo>
                <a:cubicBezTo>
                  <a:pt x="1167" y="2449"/>
                  <a:pt x="1169" y="2449"/>
                  <a:pt x="1169" y="2453"/>
                </a:cubicBezTo>
                <a:cubicBezTo>
                  <a:pt x="1170" y="2445"/>
                  <a:pt x="1174" y="2450"/>
                  <a:pt x="1174" y="2447"/>
                </a:cubicBezTo>
                <a:cubicBezTo>
                  <a:pt x="1186" y="2435"/>
                  <a:pt x="1188" y="2453"/>
                  <a:pt x="1198" y="2445"/>
                </a:cubicBezTo>
                <a:cubicBezTo>
                  <a:pt x="1204" y="2432"/>
                  <a:pt x="1307" y="2215"/>
                  <a:pt x="1314" y="2198"/>
                </a:cubicBezTo>
                <a:cubicBezTo>
                  <a:pt x="1315" y="2199"/>
                  <a:pt x="1316" y="2200"/>
                  <a:pt x="1316" y="2202"/>
                </a:cubicBezTo>
                <a:cubicBezTo>
                  <a:pt x="1317" y="2198"/>
                  <a:pt x="1315" y="2195"/>
                  <a:pt x="1313" y="2196"/>
                </a:cubicBezTo>
                <a:close/>
                <a:moveTo>
                  <a:pt x="1802" y="2747"/>
                </a:moveTo>
                <a:cubicBezTo>
                  <a:pt x="1803" y="2755"/>
                  <a:pt x="1806" y="2756"/>
                  <a:pt x="1808" y="2758"/>
                </a:cubicBezTo>
                <a:cubicBezTo>
                  <a:pt x="1807" y="2750"/>
                  <a:pt x="1805" y="2747"/>
                  <a:pt x="1802" y="2747"/>
                </a:cubicBezTo>
                <a:close/>
                <a:moveTo>
                  <a:pt x="2239" y="2390"/>
                </a:moveTo>
                <a:cubicBezTo>
                  <a:pt x="2238" y="2385"/>
                  <a:pt x="2234" y="2384"/>
                  <a:pt x="2233" y="2386"/>
                </a:cubicBezTo>
                <a:cubicBezTo>
                  <a:pt x="2234" y="2396"/>
                  <a:pt x="2234" y="2396"/>
                  <a:pt x="2234" y="2396"/>
                </a:cubicBezTo>
                <a:cubicBezTo>
                  <a:pt x="2231" y="2400"/>
                  <a:pt x="2233" y="2390"/>
                  <a:pt x="2229" y="2391"/>
                </a:cubicBezTo>
                <a:cubicBezTo>
                  <a:pt x="2228" y="2383"/>
                  <a:pt x="2231" y="2381"/>
                  <a:pt x="2234" y="2380"/>
                </a:cubicBezTo>
                <a:cubicBezTo>
                  <a:pt x="2231" y="2380"/>
                  <a:pt x="2228" y="2374"/>
                  <a:pt x="2228" y="2383"/>
                </a:cubicBezTo>
                <a:cubicBezTo>
                  <a:pt x="2225" y="2380"/>
                  <a:pt x="2227" y="2373"/>
                  <a:pt x="2223" y="2370"/>
                </a:cubicBezTo>
                <a:cubicBezTo>
                  <a:pt x="2222" y="2372"/>
                  <a:pt x="2220" y="2381"/>
                  <a:pt x="2217" y="2376"/>
                </a:cubicBezTo>
                <a:cubicBezTo>
                  <a:pt x="2217" y="2375"/>
                  <a:pt x="2217" y="2375"/>
                  <a:pt x="2217" y="2375"/>
                </a:cubicBezTo>
                <a:cubicBezTo>
                  <a:pt x="2210" y="2367"/>
                  <a:pt x="2209" y="2388"/>
                  <a:pt x="2203" y="2380"/>
                </a:cubicBezTo>
                <a:cubicBezTo>
                  <a:pt x="2203" y="2377"/>
                  <a:pt x="2203" y="2377"/>
                  <a:pt x="2203" y="2377"/>
                </a:cubicBezTo>
                <a:cubicBezTo>
                  <a:pt x="2201" y="2373"/>
                  <a:pt x="2198" y="2379"/>
                  <a:pt x="2194" y="2375"/>
                </a:cubicBezTo>
                <a:cubicBezTo>
                  <a:pt x="2195" y="2376"/>
                  <a:pt x="2197" y="2382"/>
                  <a:pt x="2195" y="2383"/>
                </a:cubicBezTo>
                <a:cubicBezTo>
                  <a:pt x="2190" y="2378"/>
                  <a:pt x="2188" y="2384"/>
                  <a:pt x="2184" y="2378"/>
                </a:cubicBezTo>
                <a:cubicBezTo>
                  <a:pt x="2183" y="2386"/>
                  <a:pt x="2183" y="2386"/>
                  <a:pt x="2183" y="2386"/>
                </a:cubicBezTo>
                <a:cubicBezTo>
                  <a:pt x="2169" y="2385"/>
                  <a:pt x="2116" y="2399"/>
                  <a:pt x="2102" y="2401"/>
                </a:cubicBezTo>
                <a:cubicBezTo>
                  <a:pt x="2102" y="2399"/>
                  <a:pt x="2102" y="2399"/>
                  <a:pt x="2102" y="2399"/>
                </a:cubicBezTo>
                <a:cubicBezTo>
                  <a:pt x="2081" y="2404"/>
                  <a:pt x="2038" y="2403"/>
                  <a:pt x="2016" y="2413"/>
                </a:cubicBezTo>
                <a:cubicBezTo>
                  <a:pt x="2013" y="2405"/>
                  <a:pt x="2008" y="2407"/>
                  <a:pt x="2004" y="2404"/>
                </a:cubicBezTo>
                <a:cubicBezTo>
                  <a:pt x="2006" y="2407"/>
                  <a:pt x="2006" y="2413"/>
                  <a:pt x="2004" y="2413"/>
                </a:cubicBezTo>
                <a:cubicBezTo>
                  <a:pt x="1993" y="2411"/>
                  <a:pt x="2003" y="2418"/>
                  <a:pt x="1992" y="2421"/>
                </a:cubicBezTo>
                <a:cubicBezTo>
                  <a:pt x="1980" y="2428"/>
                  <a:pt x="1931" y="2415"/>
                  <a:pt x="1920" y="2407"/>
                </a:cubicBezTo>
                <a:cubicBezTo>
                  <a:pt x="1914" y="2418"/>
                  <a:pt x="1907" y="2409"/>
                  <a:pt x="1900" y="2415"/>
                </a:cubicBezTo>
                <a:cubicBezTo>
                  <a:pt x="1901" y="2413"/>
                  <a:pt x="1901" y="2413"/>
                  <a:pt x="1901" y="2413"/>
                </a:cubicBezTo>
                <a:cubicBezTo>
                  <a:pt x="1894" y="2416"/>
                  <a:pt x="1859" y="2401"/>
                  <a:pt x="1852" y="2404"/>
                </a:cubicBezTo>
                <a:cubicBezTo>
                  <a:pt x="1852" y="2406"/>
                  <a:pt x="1852" y="2406"/>
                  <a:pt x="1852" y="2406"/>
                </a:cubicBezTo>
                <a:cubicBezTo>
                  <a:pt x="1845" y="2412"/>
                  <a:pt x="1847" y="2400"/>
                  <a:pt x="1843" y="2395"/>
                </a:cubicBezTo>
                <a:cubicBezTo>
                  <a:pt x="1842" y="2408"/>
                  <a:pt x="1836" y="2414"/>
                  <a:pt x="1834" y="2415"/>
                </a:cubicBezTo>
                <a:cubicBezTo>
                  <a:pt x="1834" y="2412"/>
                  <a:pt x="1834" y="2412"/>
                  <a:pt x="1834" y="2412"/>
                </a:cubicBezTo>
                <a:cubicBezTo>
                  <a:pt x="1831" y="2414"/>
                  <a:pt x="1823" y="2424"/>
                  <a:pt x="1817" y="2424"/>
                </a:cubicBezTo>
                <a:cubicBezTo>
                  <a:pt x="1818" y="2417"/>
                  <a:pt x="1818" y="2417"/>
                  <a:pt x="1818" y="2417"/>
                </a:cubicBezTo>
                <a:cubicBezTo>
                  <a:pt x="1813" y="2424"/>
                  <a:pt x="1805" y="2420"/>
                  <a:pt x="1802" y="2420"/>
                </a:cubicBezTo>
                <a:cubicBezTo>
                  <a:pt x="1795" y="2416"/>
                  <a:pt x="1785" y="2401"/>
                  <a:pt x="1774" y="2409"/>
                </a:cubicBezTo>
                <a:cubicBezTo>
                  <a:pt x="1770" y="2388"/>
                  <a:pt x="1770" y="2388"/>
                  <a:pt x="1770" y="2388"/>
                </a:cubicBezTo>
                <a:cubicBezTo>
                  <a:pt x="1769" y="2390"/>
                  <a:pt x="1769" y="2390"/>
                  <a:pt x="1769" y="2390"/>
                </a:cubicBezTo>
                <a:cubicBezTo>
                  <a:pt x="1769" y="2390"/>
                  <a:pt x="1760" y="2449"/>
                  <a:pt x="1751" y="2514"/>
                </a:cubicBezTo>
                <a:cubicBezTo>
                  <a:pt x="1742" y="2580"/>
                  <a:pt x="1733" y="2652"/>
                  <a:pt x="1738" y="2679"/>
                </a:cubicBezTo>
                <a:cubicBezTo>
                  <a:pt x="1736" y="2686"/>
                  <a:pt x="1736" y="2686"/>
                  <a:pt x="1736" y="2686"/>
                </a:cubicBezTo>
                <a:cubicBezTo>
                  <a:pt x="1739" y="2686"/>
                  <a:pt x="1739" y="2686"/>
                  <a:pt x="1739" y="2686"/>
                </a:cubicBezTo>
                <a:cubicBezTo>
                  <a:pt x="1743" y="2690"/>
                  <a:pt x="1745" y="2682"/>
                  <a:pt x="1744" y="2689"/>
                </a:cubicBezTo>
                <a:cubicBezTo>
                  <a:pt x="1739" y="2687"/>
                  <a:pt x="1739" y="2687"/>
                  <a:pt x="1739" y="2687"/>
                </a:cubicBezTo>
                <a:cubicBezTo>
                  <a:pt x="1743" y="2690"/>
                  <a:pt x="1740" y="2693"/>
                  <a:pt x="1738" y="2697"/>
                </a:cubicBezTo>
                <a:cubicBezTo>
                  <a:pt x="1739" y="2698"/>
                  <a:pt x="1741" y="2699"/>
                  <a:pt x="1742" y="2701"/>
                </a:cubicBezTo>
                <a:cubicBezTo>
                  <a:pt x="1743" y="2698"/>
                  <a:pt x="1741" y="2698"/>
                  <a:pt x="1741" y="2696"/>
                </a:cubicBezTo>
                <a:cubicBezTo>
                  <a:pt x="1743" y="2694"/>
                  <a:pt x="1747" y="2688"/>
                  <a:pt x="1748" y="2692"/>
                </a:cubicBezTo>
                <a:cubicBezTo>
                  <a:pt x="1752" y="2693"/>
                  <a:pt x="1747" y="2703"/>
                  <a:pt x="1752" y="2705"/>
                </a:cubicBezTo>
                <a:cubicBezTo>
                  <a:pt x="1773" y="2714"/>
                  <a:pt x="1794" y="2726"/>
                  <a:pt x="1817" y="2728"/>
                </a:cubicBezTo>
                <a:cubicBezTo>
                  <a:pt x="1817" y="2731"/>
                  <a:pt x="1816" y="2731"/>
                  <a:pt x="1816" y="2732"/>
                </a:cubicBezTo>
                <a:cubicBezTo>
                  <a:pt x="1823" y="2730"/>
                  <a:pt x="1829" y="2732"/>
                  <a:pt x="1835" y="2730"/>
                </a:cubicBezTo>
                <a:cubicBezTo>
                  <a:pt x="1836" y="2733"/>
                  <a:pt x="1837" y="2737"/>
                  <a:pt x="1837" y="2740"/>
                </a:cubicBezTo>
                <a:cubicBezTo>
                  <a:pt x="1836" y="2734"/>
                  <a:pt x="1872" y="2739"/>
                  <a:pt x="1872" y="2740"/>
                </a:cubicBezTo>
                <a:cubicBezTo>
                  <a:pt x="1873" y="2728"/>
                  <a:pt x="1873" y="2728"/>
                  <a:pt x="1873" y="2728"/>
                </a:cubicBezTo>
                <a:cubicBezTo>
                  <a:pt x="1880" y="2728"/>
                  <a:pt x="1874" y="2742"/>
                  <a:pt x="1881" y="2740"/>
                </a:cubicBezTo>
                <a:cubicBezTo>
                  <a:pt x="1884" y="2722"/>
                  <a:pt x="1891" y="2743"/>
                  <a:pt x="1894" y="2734"/>
                </a:cubicBezTo>
                <a:cubicBezTo>
                  <a:pt x="1894" y="2735"/>
                  <a:pt x="1897" y="2736"/>
                  <a:pt x="1896" y="2742"/>
                </a:cubicBezTo>
                <a:cubicBezTo>
                  <a:pt x="1897" y="2732"/>
                  <a:pt x="1899" y="2740"/>
                  <a:pt x="1901" y="2737"/>
                </a:cubicBezTo>
                <a:cubicBezTo>
                  <a:pt x="1902" y="2735"/>
                  <a:pt x="1901" y="2734"/>
                  <a:pt x="1901" y="2731"/>
                </a:cubicBezTo>
                <a:cubicBezTo>
                  <a:pt x="1905" y="2728"/>
                  <a:pt x="1905" y="2728"/>
                  <a:pt x="1905" y="2728"/>
                </a:cubicBezTo>
                <a:cubicBezTo>
                  <a:pt x="1907" y="2732"/>
                  <a:pt x="1907" y="2738"/>
                  <a:pt x="1905" y="2738"/>
                </a:cubicBezTo>
                <a:cubicBezTo>
                  <a:pt x="1916" y="2743"/>
                  <a:pt x="1971" y="2757"/>
                  <a:pt x="1984" y="2753"/>
                </a:cubicBezTo>
                <a:cubicBezTo>
                  <a:pt x="1982" y="2745"/>
                  <a:pt x="1979" y="2750"/>
                  <a:pt x="1977" y="2738"/>
                </a:cubicBezTo>
                <a:cubicBezTo>
                  <a:pt x="1980" y="2732"/>
                  <a:pt x="1982" y="2741"/>
                  <a:pt x="1983" y="2734"/>
                </a:cubicBezTo>
                <a:cubicBezTo>
                  <a:pt x="1985" y="2751"/>
                  <a:pt x="1991" y="2739"/>
                  <a:pt x="1993" y="2756"/>
                </a:cubicBezTo>
                <a:cubicBezTo>
                  <a:pt x="1994" y="2747"/>
                  <a:pt x="1994" y="2747"/>
                  <a:pt x="1994" y="2747"/>
                </a:cubicBezTo>
                <a:cubicBezTo>
                  <a:pt x="1996" y="2753"/>
                  <a:pt x="1996" y="2753"/>
                  <a:pt x="1996" y="2753"/>
                </a:cubicBezTo>
                <a:cubicBezTo>
                  <a:pt x="2010" y="2743"/>
                  <a:pt x="1999" y="2748"/>
                  <a:pt x="2012" y="2751"/>
                </a:cubicBezTo>
                <a:cubicBezTo>
                  <a:pt x="2019" y="2750"/>
                  <a:pt x="2022" y="2736"/>
                  <a:pt x="2027" y="2741"/>
                </a:cubicBezTo>
                <a:cubicBezTo>
                  <a:pt x="2026" y="2741"/>
                  <a:pt x="2024" y="2735"/>
                  <a:pt x="2026" y="2733"/>
                </a:cubicBezTo>
                <a:cubicBezTo>
                  <a:pt x="2027" y="2741"/>
                  <a:pt x="2031" y="2727"/>
                  <a:pt x="2032" y="2735"/>
                </a:cubicBezTo>
                <a:cubicBezTo>
                  <a:pt x="2034" y="2734"/>
                  <a:pt x="2040" y="2736"/>
                  <a:pt x="2038" y="2724"/>
                </a:cubicBezTo>
                <a:cubicBezTo>
                  <a:pt x="2039" y="2730"/>
                  <a:pt x="2044" y="2732"/>
                  <a:pt x="2041" y="2737"/>
                </a:cubicBezTo>
                <a:cubicBezTo>
                  <a:pt x="2043" y="2738"/>
                  <a:pt x="2045" y="2740"/>
                  <a:pt x="2046" y="2737"/>
                </a:cubicBezTo>
                <a:cubicBezTo>
                  <a:pt x="2044" y="2734"/>
                  <a:pt x="2044" y="2734"/>
                  <a:pt x="2044" y="2734"/>
                </a:cubicBezTo>
                <a:cubicBezTo>
                  <a:pt x="2050" y="2732"/>
                  <a:pt x="2053" y="2741"/>
                  <a:pt x="2057" y="2731"/>
                </a:cubicBezTo>
                <a:cubicBezTo>
                  <a:pt x="2055" y="2726"/>
                  <a:pt x="2055" y="2726"/>
                  <a:pt x="2055" y="2726"/>
                </a:cubicBezTo>
                <a:cubicBezTo>
                  <a:pt x="2058" y="2725"/>
                  <a:pt x="2061" y="2724"/>
                  <a:pt x="2063" y="2736"/>
                </a:cubicBezTo>
                <a:cubicBezTo>
                  <a:pt x="2059" y="2740"/>
                  <a:pt x="2059" y="2740"/>
                  <a:pt x="2059" y="2740"/>
                </a:cubicBezTo>
                <a:cubicBezTo>
                  <a:pt x="2066" y="2739"/>
                  <a:pt x="2069" y="2739"/>
                  <a:pt x="2074" y="2732"/>
                </a:cubicBezTo>
                <a:cubicBezTo>
                  <a:pt x="2072" y="2732"/>
                  <a:pt x="2072" y="2732"/>
                  <a:pt x="2072" y="2732"/>
                </a:cubicBezTo>
                <a:cubicBezTo>
                  <a:pt x="2078" y="2721"/>
                  <a:pt x="2111" y="2711"/>
                  <a:pt x="2116" y="2696"/>
                </a:cubicBezTo>
                <a:cubicBezTo>
                  <a:pt x="2113" y="2687"/>
                  <a:pt x="2113" y="2687"/>
                  <a:pt x="2113" y="2687"/>
                </a:cubicBezTo>
                <a:cubicBezTo>
                  <a:pt x="2118" y="2680"/>
                  <a:pt x="2118" y="2680"/>
                  <a:pt x="2118" y="2680"/>
                </a:cubicBezTo>
                <a:cubicBezTo>
                  <a:pt x="2117" y="2680"/>
                  <a:pt x="2117" y="2709"/>
                  <a:pt x="2116" y="2706"/>
                </a:cubicBezTo>
                <a:cubicBezTo>
                  <a:pt x="2127" y="2705"/>
                  <a:pt x="2182" y="2696"/>
                  <a:pt x="2193" y="2701"/>
                </a:cubicBezTo>
                <a:cubicBezTo>
                  <a:pt x="2197" y="2706"/>
                  <a:pt x="2195" y="2715"/>
                  <a:pt x="2195" y="2717"/>
                </a:cubicBezTo>
                <a:cubicBezTo>
                  <a:pt x="2200" y="2713"/>
                  <a:pt x="2196" y="2707"/>
                  <a:pt x="2201" y="2708"/>
                </a:cubicBezTo>
                <a:cubicBezTo>
                  <a:pt x="2202" y="2709"/>
                  <a:pt x="2201" y="2715"/>
                  <a:pt x="2200" y="2716"/>
                </a:cubicBezTo>
                <a:cubicBezTo>
                  <a:pt x="2202" y="2715"/>
                  <a:pt x="2204" y="2718"/>
                  <a:pt x="2204" y="2714"/>
                </a:cubicBezTo>
                <a:cubicBezTo>
                  <a:pt x="2201" y="2711"/>
                  <a:pt x="2201" y="2699"/>
                  <a:pt x="2199" y="2692"/>
                </a:cubicBezTo>
                <a:cubicBezTo>
                  <a:pt x="2205" y="2693"/>
                  <a:pt x="2205" y="2693"/>
                  <a:pt x="2205" y="2693"/>
                </a:cubicBezTo>
                <a:cubicBezTo>
                  <a:pt x="2205" y="2700"/>
                  <a:pt x="2205" y="2700"/>
                  <a:pt x="2205" y="2700"/>
                </a:cubicBezTo>
                <a:cubicBezTo>
                  <a:pt x="2207" y="2700"/>
                  <a:pt x="2206" y="2681"/>
                  <a:pt x="2212" y="2684"/>
                </a:cubicBezTo>
                <a:cubicBezTo>
                  <a:pt x="2221" y="2686"/>
                  <a:pt x="2230" y="2683"/>
                  <a:pt x="2239" y="2684"/>
                </a:cubicBezTo>
                <a:cubicBezTo>
                  <a:pt x="2240" y="2688"/>
                  <a:pt x="2238" y="2691"/>
                  <a:pt x="2237" y="2693"/>
                </a:cubicBezTo>
                <a:cubicBezTo>
                  <a:pt x="2238" y="2693"/>
                  <a:pt x="2239" y="2692"/>
                  <a:pt x="2241" y="2695"/>
                </a:cubicBezTo>
                <a:cubicBezTo>
                  <a:pt x="2238" y="2688"/>
                  <a:pt x="2244" y="2690"/>
                  <a:pt x="2242" y="2687"/>
                </a:cubicBezTo>
                <a:cubicBezTo>
                  <a:pt x="2246" y="2669"/>
                  <a:pt x="2257" y="2684"/>
                  <a:pt x="2261" y="2672"/>
                </a:cubicBezTo>
                <a:cubicBezTo>
                  <a:pt x="2260" y="2656"/>
                  <a:pt x="2238" y="2406"/>
                  <a:pt x="2235" y="2388"/>
                </a:cubicBezTo>
                <a:cubicBezTo>
                  <a:pt x="2236" y="2388"/>
                  <a:pt x="2238" y="2388"/>
                  <a:pt x="2239" y="2390"/>
                </a:cubicBezTo>
                <a:close/>
                <a:moveTo>
                  <a:pt x="2816" y="2631"/>
                </a:moveTo>
                <a:cubicBezTo>
                  <a:pt x="2820" y="2637"/>
                  <a:pt x="2823" y="2636"/>
                  <a:pt x="2826" y="2636"/>
                </a:cubicBezTo>
                <a:cubicBezTo>
                  <a:pt x="2821" y="2631"/>
                  <a:pt x="2818" y="2629"/>
                  <a:pt x="2816" y="2631"/>
                </a:cubicBezTo>
                <a:close/>
                <a:moveTo>
                  <a:pt x="2826" y="2636"/>
                </a:moveTo>
                <a:cubicBezTo>
                  <a:pt x="2826" y="2636"/>
                  <a:pt x="2826" y="2636"/>
                  <a:pt x="2826" y="2636"/>
                </a:cubicBezTo>
                <a:cubicBezTo>
                  <a:pt x="2826" y="2636"/>
                  <a:pt x="2826" y="2636"/>
                  <a:pt x="2826" y="2636"/>
                </a:cubicBezTo>
                <a:close/>
                <a:moveTo>
                  <a:pt x="3238" y="2232"/>
                </a:moveTo>
                <a:cubicBezTo>
                  <a:pt x="3229" y="2219"/>
                  <a:pt x="3089" y="2015"/>
                  <a:pt x="3078" y="2001"/>
                </a:cubicBezTo>
                <a:cubicBezTo>
                  <a:pt x="3079" y="2000"/>
                  <a:pt x="3081" y="1999"/>
                  <a:pt x="3082" y="2000"/>
                </a:cubicBezTo>
                <a:cubicBezTo>
                  <a:pt x="3079" y="1997"/>
                  <a:pt x="3075" y="1998"/>
                  <a:pt x="3076" y="2001"/>
                </a:cubicBezTo>
                <a:cubicBezTo>
                  <a:pt x="3081" y="2009"/>
                  <a:pt x="3081" y="2009"/>
                  <a:pt x="3081" y="2009"/>
                </a:cubicBezTo>
                <a:cubicBezTo>
                  <a:pt x="3081" y="2014"/>
                  <a:pt x="3077" y="2005"/>
                  <a:pt x="3075" y="2007"/>
                </a:cubicBezTo>
                <a:cubicBezTo>
                  <a:pt x="3070" y="2001"/>
                  <a:pt x="3072" y="1998"/>
                  <a:pt x="3073" y="1995"/>
                </a:cubicBezTo>
                <a:cubicBezTo>
                  <a:pt x="3071" y="1996"/>
                  <a:pt x="3065" y="1993"/>
                  <a:pt x="3070" y="2001"/>
                </a:cubicBezTo>
                <a:cubicBezTo>
                  <a:pt x="3066" y="2000"/>
                  <a:pt x="3064" y="1993"/>
                  <a:pt x="3060" y="1992"/>
                </a:cubicBezTo>
                <a:cubicBezTo>
                  <a:pt x="3060" y="1996"/>
                  <a:pt x="3062" y="2004"/>
                  <a:pt x="3058" y="2002"/>
                </a:cubicBezTo>
                <a:cubicBezTo>
                  <a:pt x="3057" y="2001"/>
                  <a:pt x="3057" y="2001"/>
                  <a:pt x="3057" y="2001"/>
                </a:cubicBezTo>
                <a:cubicBezTo>
                  <a:pt x="3047" y="1998"/>
                  <a:pt x="3057" y="2016"/>
                  <a:pt x="3048" y="2013"/>
                </a:cubicBezTo>
                <a:cubicBezTo>
                  <a:pt x="3047" y="2011"/>
                  <a:pt x="3047" y="2011"/>
                  <a:pt x="3047" y="2011"/>
                </a:cubicBezTo>
                <a:cubicBezTo>
                  <a:pt x="3043" y="2008"/>
                  <a:pt x="3044" y="2016"/>
                  <a:pt x="3038" y="2014"/>
                </a:cubicBezTo>
                <a:cubicBezTo>
                  <a:pt x="3040" y="2015"/>
                  <a:pt x="3044" y="2019"/>
                  <a:pt x="3043" y="2021"/>
                </a:cubicBezTo>
                <a:cubicBezTo>
                  <a:pt x="3037" y="2020"/>
                  <a:pt x="3038" y="2025"/>
                  <a:pt x="3032" y="2022"/>
                </a:cubicBezTo>
                <a:cubicBezTo>
                  <a:pt x="3034" y="2031"/>
                  <a:pt x="3034" y="2031"/>
                  <a:pt x="3034" y="2031"/>
                </a:cubicBezTo>
                <a:cubicBezTo>
                  <a:pt x="3023" y="2038"/>
                  <a:pt x="2986" y="2083"/>
                  <a:pt x="2976" y="2092"/>
                </a:cubicBezTo>
                <a:cubicBezTo>
                  <a:pt x="2975" y="2090"/>
                  <a:pt x="2975" y="2090"/>
                  <a:pt x="2975" y="2090"/>
                </a:cubicBezTo>
                <a:cubicBezTo>
                  <a:pt x="2960" y="2107"/>
                  <a:pt x="2925" y="2132"/>
                  <a:pt x="2912" y="2154"/>
                </a:cubicBezTo>
                <a:cubicBezTo>
                  <a:pt x="2905" y="2149"/>
                  <a:pt x="2902" y="2153"/>
                  <a:pt x="2898" y="2153"/>
                </a:cubicBezTo>
                <a:cubicBezTo>
                  <a:pt x="2901" y="2155"/>
                  <a:pt x="2903" y="2160"/>
                  <a:pt x="2902" y="2161"/>
                </a:cubicBezTo>
                <a:cubicBezTo>
                  <a:pt x="2892" y="2166"/>
                  <a:pt x="2904" y="2166"/>
                  <a:pt x="2896" y="2175"/>
                </a:cubicBezTo>
                <a:cubicBezTo>
                  <a:pt x="2889" y="2188"/>
                  <a:pt x="2844" y="2207"/>
                  <a:pt x="2831" y="2207"/>
                </a:cubicBezTo>
                <a:cubicBezTo>
                  <a:pt x="2831" y="2220"/>
                  <a:pt x="2821" y="2216"/>
                  <a:pt x="2819" y="2225"/>
                </a:cubicBezTo>
                <a:cubicBezTo>
                  <a:pt x="2818" y="2223"/>
                  <a:pt x="2818" y="2223"/>
                  <a:pt x="2818" y="2223"/>
                </a:cubicBezTo>
                <a:cubicBezTo>
                  <a:pt x="2814" y="2230"/>
                  <a:pt x="2778" y="2238"/>
                  <a:pt x="2773" y="2245"/>
                </a:cubicBezTo>
                <a:cubicBezTo>
                  <a:pt x="2775" y="2246"/>
                  <a:pt x="2775" y="2246"/>
                  <a:pt x="2775" y="2246"/>
                </a:cubicBezTo>
                <a:cubicBezTo>
                  <a:pt x="2772" y="2255"/>
                  <a:pt x="2768" y="2244"/>
                  <a:pt x="2762" y="2242"/>
                </a:cubicBezTo>
                <a:cubicBezTo>
                  <a:pt x="2768" y="2254"/>
                  <a:pt x="2766" y="2263"/>
                  <a:pt x="2764" y="2265"/>
                </a:cubicBezTo>
                <a:cubicBezTo>
                  <a:pt x="2763" y="2262"/>
                  <a:pt x="2763" y="2262"/>
                  <a:pt x="2763" y="2262"/>
                </a:cubicBezTo>
                <a:cubicBezTo>
                  <a:pt x="2761" y="2266"/>
                  <a:pt x="2760" y="2279"/>
                  <a:pt x="2755" y="2283"/>
                </a:cubicBezTo>
                <a:cubicBezTo>
                  <a:pt x="2753" y="2277"/>
                  <a:pt x="2753" y="2277"/>
                  <a:pt x="2753" y="2277"/>
                </a:cubicBezTo>
                <a:cubicBezTo>
                  <a:pt x="2752" y="2286"/>
                  <a:pt x="2743" y="2286"/>
                  <a:pt x="2741" y="2288"/>
                </a:cubicBezTo>
                <a:cubicBezTo>
                  <a:pt x="2733" y="2289"/>
                  <a:pt x="2718" y="2283"/>
                  <a:pt x="2713" y="2295"/>
                </a:cubicBezTo>
                <a:cubicBezTo>
                  <a:pt x="2700" y="2279"/>
                  <a:pt x="2700" y="2279"/>
                  <a:pt x="2700" y="2279"/>
                </a:cubicBezTo>
                <a:cubicBezTo>
                  <a:pt x="2700" y="2282"/>
                  <a:pt x="2700" y="2282"/>
                  <a:pt x="2700" y="2282"/>
                </a:cubicBezTo>
                <a:cubicBezTo>
                  <a:pt x="2700" y="2282"/>
                  <a:pt x="2720" y="2339"/>
                  <a:pt x="2745" y="2401"/>
                </a:cubicBezTo>
                <a:cubicBezTo>
                  <a:pt x="2770" y="2464"/>
                  <a:pt x="2799" y="2531"/>
                  <a:pt x="2815" y="2552"/>
                </a:cubicBezTo>
                <a:cubicBezTo>
                  <a:pt x="2818" y="2559"/>
                  <a:pt x="2818" y="2559"/>
                  <a:pt x="2818" y="2559"/>
                </a:cubicBezTo>
                <a:cubicBezTo>
                  <a:pt x="2820" y="2556"/>
                  <a:pt x="2820" y="2556"/>
                  <a:pt x="2820" y="2556"/>
                </a:cubicBezTo>
                <a:cubicBezTo>
                  <a:pt x="2824" y="2558"/>
                  <a:pt x="2823" y="2550"/>
                  <a:pt x="2825" y="2557"/>
                </a:cubicBezTo>
                <a:cubicBezTo>
                  <a:pt x="2821" y="2558"/>
                  <a:pt x="2821" y="2558"/>
                  <a:pt x="2821" y="2558"/>
                </a:cubicBezTo>
                <a:cubicBezTo>
                  <a:pt x="2825" y="2558"/>
                  <a:pt x="2824" y="2563"/>
                  <a:pt x="2824" y="2567"/>
                </a:cubicBezTo>
                <a:cubicBezTo>
                  <a:pt x="2826" y="2567"/>
                  <a:pt x="2827" y="2567"/>
                  <a:pt x="2829" y="2569"/>
                </a:cubicBezTo>
                <a:cubicBezTo>
                  <a:pt x="2829" y="2566"/>
                  <a:pt x="2828" y="2566"/>
                  <a:pt x="2827" y="2565"/>
                </a:cubicBezTo>
                <a:cubicBezTo>
                  <a:pt x="2827" y="2562"/>
                  <a:pt x="2827" y="2555"/>
                  <a:pt x="2830" y="2557"/>
                </a:cubicBezTo>
                <a:cubicBezTo>
                  <a:pt x="2834" y="2556"/>
                  <a:pt x="2835" y="2567"/>
                  <a:pt x="2839" y="2566"/>
                </a:cubicBezTo>
                <a:cubicBezTo>
                  <a:pt x="2861" y="2561"/>
                  <a:pt x="2884" y="2559"/>
                  <a:pt x="2904" y="2547"/>
                </a:cubicBezTo>
                <a:cubicBezTo>
                  <a:pt x="2905" y="2549"/>
                  <a:pt x="2905" y="2550"/>
                  <a:pt x="2905" y="2551"/>
                </a:cubicBezTo>
                <a:cubicBezTo>
                  <a:pt x="2909" y="2545"/>
                  <a:pt x="2915" y="2543"/>
                  <a:pt x="2919" y="2537"/>
                </a:cubicBezTo>
                <a:cubicBezTo>
                  <a:pt x="2922" y="2539"/>
                  <a:pt x="2925" y="2543"/>
                  <a:pt x="2926" y="2546"/>
                </a:cubicBezTo>
                <a:cubicBezTo>
                  <a:pt x="2923" y="2541"/>
                  <a:pt x="2954" y="2523"/>
                  <a:pt x="2955" y="2524"/>
                </a:cubicBezTo>
                <a:cubicBezTo>
                  <a:pt x="2950" y="2513"/>
                  <a:pt x="2950" y="2513"/>
                  <a:pt x="2950" y="2513"/>
                </a:cubicBezTo>
                <a:cubicBezTo>
                  <a:pt x="2955" y="2509"/>
                  <a:pt x="2958" y="2525"/>
                  <a:pt x="2962" y="2519"/>
                </a:cubicBezTo>
                <a:cubicBezTo>
                  <a:pt x="2956" y="2502"/>
                  <a:pt x="2972" y="2515"/>
                  <a:pt x="2969" y="2506"/>
                </a:cubicBezTo>
                <a:cubicBezTo>
                  <a:pt x="2970" y="2507"/>
                  <a:pt x="2973" y="2506"/>
                  <a:pt x="2975" y="2511"/>
                </a:cubicBezTo>
                <a:cubicBezTo>
                  <a:pt x="2971" y="2502"/>
                  <a:pt x="2977" y="2507"/>
                  <a:pt x="2977" y="2504"/>
                </a:cubicBezTo>
                <a:cubicBezTo>
                  <a:pt x="2977" y="2502"/>
                  <a:pt x="2975" y="2502"/>
                  <a:pt x="2974" y="2500"/>
                </a:cubicBezTo>
                <a:cubicBezTo>
                  <a:pt x="2976" y="2494"/>
                  <a:pt x="2976" y="2494"/>
                  <a:pt x="2976" y="2494"/>
                </a:cubicBezTo>
                <a:cubicBezTo>
                  <a:pt x="2979" y="2496"/>
                  <a:pt x="2982" y="2501"/>
                  <a:pt x="2981" y="2503"/>
                </a:cubicBezTo>
                <a:cubicBezTo>
                  <a:pt x="2992" y="2500"/>
                  <a:pt x="3044" y="2479"/>
                  <a:pt x="3052" y="2468"/>
                </a:cubicBezTo>
                <a:cubicBezTo>
                  <a:pt x="3047" y="2463"/>
                  <a:pt x="3046" y="2469"/>
                  <a:pt x="3039" y="2460"/>
                </a:cubicBezTo>
                <a:cubicBezTo>
                  <a:pt x="3039" y="2452"/>
                  <a:pt x="3045" y="2459"/>
                  <a:pt x="3042" y="2452"/>
                </a:cubicBezTo>
                <a:cubicBezTo>
                  <a:pt x="3052" y="2467"/>
                  <a:pt x="3050" y="2452"/>
                  <a:pt x="3061" y="2466"/>
                </a:cubicBezTo>
                <a:cubicBezTo>
                  <a:pt x="3057" y="2457"/>
                  <a:pt x="3057" y="2457"/>
                  <a:pt x="3057" y="2457"/>
                </a:cubicBezTo>
                <a:cubicBezTo>
                  <a:pt x="3061" y="2461"/>
                  <a:pt x="3061" y="2461"/>
                  <a:pt x="3061" y="2461"/>
                </a:cubicBezTo>
                <a:cubicBezTo>
                  <a:pt x="3068" y="2444"/>
                  <a:pt x="3062" y="2455"/>
                  <a:pt x="3074" y="2450"/>
                </a:cubicBezTo>
                <a:cubicBezTo>
                  <a:pt x="3079" y="2444"/>
                  <a:pt x="3075" y="2431"/>
                  <a:pt x="3081" y="2433"/>
                </a:cubicBezTo>
                <a:cubicBezTo>
                  <a:pt x="3080" y="2433"/>
                  <a:pt x="3076" y="2429"/>
                  <a:pt x="3076" y="2425"/>
                </a:cubicBezTo>
                <a:cubicBezTo>
                  <a:pt x="3081" y="2433"/>
                  <a:pt x="3078" y="2417"/>
                  <a:pt x="3083" y="2424"/>
                </a:cubicBezTo>
                <a:cubicBezTo>
                  <a:pt x="3084" y="2422"/>
                  <a:pt x="3089" y="2420"/>
                  <a:pt x="3082" y="2411"/>
                </a:cubicBezTo>
                <a:cubicBezTo>
                  <a:pt x="3085" y="2415"/>
                  <a:pt x="3091" y="2414"/>
                  <a:pt x="3091" y="2420"/>
                </a:cubicBezTo>
                <a:cubicBezTo>
                  <a:pt x="3093" y="2420"/>
                  <a:pt x="3095" y="2420"/>
                  <a:pt x="3095" y="2417"/>
                </a:cubicBezTo>
                <a:cubicBezTo>
                  <a:pt x="3091" y="2416"/>
                  <a:pt x="3091" y="2416"/>
                  <a:pt x="3091" y="2416"/>
                </a:cubicBezTo>
                <a:cubicBezTo>
                  <a:pt x="3095" y="2411"/>
                  <a:pt x="3103" y="2416"/>
                  <a:pt x="3101" y="2405"/>
                </a:cubicBezTo>
                <a:cubicBezTo>
                  <a:pt x="3096" y="2402"/>
                  <a:pt x="3096" y="2402"/>
                  <a:pt x="3096" y="2402"/>
                </a:cubicBezTo>
                <a:cubicBezTo>
                  <a:pt x="3099" y="2400"/>
                  <a:pt x="3101" y="2397"/>
                  <a:pt x="3108" y="2406"/>
                </a:cubicBezTo>
                <a:cubicBezTo>
                  <a:pt x="3107" y="2411"/>
                  <a:pt x="3107" y="2411"/>
                  <a:pt x="3107" y="2411"/>
                </a:cubicBezTo>
                <a:cubicBezTo>
                  <a:pt x="3112" y="2407"/>
                  <a:pt x="3114" y="2405"/>
                  <a:pt x="3115" y="2397"/>
                </a:cubicBezTo>
                <a:cubicBezTo>
                  <a:pt x="3114" y="2397"/>
                  <a:pt x="3114" y="2397"/>
                  <a:pt x="3114" y="2397"/>
                </a:cubicBezTo>
                <a:cubicBezTo>
                  <a:pt x="3113" y="2384"/>
                  <a:pt x="3135" y="2356"/>
                  <a:pt x="3132" y="2340"/>
                </a:cubicBezTo>
                <a:cubicBezTo>
                  <a:pt x="3125" y="2334"/>
                  <a:pt x="3125" y="2334"/>
                  <a:pt x="3125" y="2334"/>
                </a:cubicBezTo>
                <a:cubicBezTo>
                  <a:pt x="3125" y="2325"/>
                  <a:pt x="3125" y="2325"/>
                  <a:pt x="3125" y="2325"/>
                </a:cubicBezTo>
                <a:cubicBezTo>
                  <a:pt x="3124" y="2325"/>
                  <a:pt x="3139" y="2350"/>
                  <a:pt x="3137" y="2348"/>
                </a:cubicBezTo>
                <a:cubicBezTo>
                  <a:pt x="3145" y="2341"/>
                  <a:pt x="3186" y="2300"/>
                  <a:pt x="3197" y="2298"/>
                </a:cubicBezTo>
                <a:cubicBezTo>
                  <a:pt x="3203" y="2300"/>
                  <a:pt x="3205" y="2309"/>
                  <a:pt x="3206" y="2311"/>
                </a:cubicBezTo>
                <a:cubicBezTo>
                  <a:pt x="3208" y="2305"/>
                  <a:pt x="3202" y="2301"/>
                  <a:pt x="3206" y="2299"/>
                </a:cubicBezTo>
                <a:cubicBezTo>
                  <a:pt x="3208" y="2300"/>
                  <a:pt x="3210" y="2305"/>
                  <a:pt x="3210" y="2307"/>
                </a:cubicBezTo>
                <a:cubicBezTo>
                  <a:pt x="3211" y="2305"/>
                  <a:pt x="3214" y="2306"/>
                  <a:pt x="3212" y="2303"/>
                </a:cubicBezTo>
                <a:cubicBezTo>
                  <a:pt x="3208" y="2301"/>
                  <a:pt x="3203" y="2292"/>
                  <a:pt x="3198" y="2287"/>
                </a:cubicBezTo>
                <a:cubicBezTo>
                  <a:pt x="3202" y="2284"/>
                  <a:pt x="3202" y="2284"/>
                  <a:pt x="3202" y="2284"/>
                </a:cubicBezTo>
                <a:cubicBezTo>
                  <a:pt x="3206" y="2290"/>
                  <a:pt x="3206" y="2290"/>
                  <a:pt x="3206" y="2290"/>
                </a:cubicBezTo>
                <a:cubicBezTo>
                  <a:pt x="3207" y="2289"/>
                  <a:pt x="3198" y="2272"/>
                  <a:pt x="3204" y="2272"/>
                </a:cubicBezTo>
                <a:cubicBezTo>
                  <a:pt x="3212" y="2268"/>
                  <a:pt x="3218" y="2260"/>
                  <a:pt x="3226" y="2255"/>
                </a:cubicBezTo>
                <a:cubicBezTo>
                  <a:pt x="3229" y="2259"/>
                  <a:pt x="3229" y="2262"/>
                  <a:pt x="3228" y="2265"/>
                </a:cubicBezTo>
                <a:cubicBezTo>
                  <a:pt x="3230" y="2265"/>
                  <a:pt x="3230" y="2263"/>
                  <a:pt x="3233" y="2264"/>
                </a:cubicBezTo>
                <a:cubicBezTo>
                  <a:pt x="3227" y="2260"/>
                  <a:pt x="3233" y="2258"/>
                  <a:pt x="3230" y="2257"/>
                </a:cubicBezTo>
                <a:cubicBezTo>
                  <a:pt x="3225" y="2238"/>
                  <a:pt x="3240" y="2245"/>
                  <a:pt x="3238" y="2232"/>
                </a:cubicBezTo>
                <a:close/>
                <a:moveTo>
                  <a:pt x="294" y="101"/>
                </a:moveTo>
                <a:cubicBezTo>
                  <a:pt x="288" y="100"/>
                  <a:pt x="287" y="101"/>
                  <a:pt x="285" y="102"/>
                </a:cubicBezTo>
                <a:cubicBezTo>
                  <a:pt x="292" y="103"/>
                  <a:pt x="295" y="103"/>
                  <a:pt x="294" y="101"/>
                </a:cubicBezTo>
                <a:close/>
                <a:moveTo>
                  <a:pt x="285" y="102"/>
                </a:moveTo>
                <a:cubicBezTo>
                  <a:pt x="285" y="102"/>
                  <a:pt x="285" y="102"/>
                  <a:pt x="285" y="102"/>
                </a:cubicBezTo>
                <a:cubicBezTo>
                  <a:pt x="285" y="102"/>
                  <a:pt x="285" y="102"/>
                  <a:pt x="285" y="102"/>
                </a:cubicBezTo>
                <a:close/>
              </a:path>
            </a:pathLst>
          </a:custGeom>
          <a:solidFill>
            <a:srgbClr val="3D7C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30" name="Oval 17">
            <a:extLst>
              <a:ext uri="{FF2B5EF4-FFF2-40B4-BE49-F238E27FC236}">
                <a16:creationId xmlns:a16="http://schemas.microsoft.com/office/drawing/2014/main" id="{97BF009D-759B-41D3-B26A-2038D493096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292601" y="2318550"/>
            <a:ext cx="3553860" cy="3548904"/>
          </a:xfrm>
          <a:prstGeom prst="ellipse">
            <a:avLst/>
          </a:prstGeom>
          <a:noFill/>
          <a:ln w="101600" cap="flat">
            <a:solidFill>
              <a:srgbClr val="345D9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814657A7-7CC1-4B7D-BC3A-DD426F395464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308336" y="1"/>
            <a:ext cx="2597664" cy="4803828"/>
          </a:xfrm>
          <a:custGeom>
            <a:avLst/>
            <a:gdLst>
              <a:gd name="connsiteX0" fmla="*/ 1294023 w 2548807"/>
              <a:gd name="connsiteY0" fmla="*/ 0 h 4803828"/>
              <a:gd name="connsiteX1" fmla="*/ 2548807 w 2548807"/>
              <a:gd name="connsiteY1" fmla="*/ 0 h 4803828"/>
              <a:gd name="connsiteX2" fmla="*/ 2548807 w 2548807"/>
              <a:gd name="connsiteY2" fmla="*/ 4803828 h 4803828"/>
              <a:gd name="connsiteX3" fmla="*/ 2310823 w 2548807"/>
              <a:gd name="connsiteY3" fmla="*/ 4791811 h 4803828"/>
              <a:gd name="connsiteX4" fmla="*/ 0 w 2548807"/>
              <a:gd name="connsiteY4" fmla="*/ 2231100 h 4803828"/>
              <a:gd name="connsiteX5" fmla="*/ 1134852 w 2548807"/>
              <a:gd name="connsiteY5" fmla="*/ 96699 h 4803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8807" h="4803828">
                <a:moveTo>
                  <a:pt x="1294023" y="0"/>
                </a:moveTo>
                <a:lnTo>
                  <a:pt x="2548807" y="0"/>
                </a:lnTo>
                <a:lnTo>
                  <a:pt x="2548807" y="4803828"/>
                </a:lnTo>
                <a:lnTo>
                  <a:pt x="2310823" y="4791811"/>
                </a:lnTo>
                <a:cubicBezTo>
                  <a:pt x="1012868" y="4659996"/>
                  <a:pt x="0" y="3563832"/>
                  <a:pt x="0" y="2231100"/>
                </a:cubicBezTo>
                <a:cubicBezTo>
                  <a:pt x="0" y="1342612"/>
                  <a:pt x="450164" y="559265"/>
                  <a:pt x="1134852" y="96699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 lang="en-AU" dirty="0"/>
          </a:p>
        </p:txBody>
      </p:sp>
      <p:grpSp>
        <p:nvGrpSpPr>
          <p:cNvPr id="2054" name="Group 20">
            <a:extLst>
              <a:ext uri="{FF2B5EF4-FFF2-40B4-BE49-F238E27FC236}">
                <a16:creationId xmlns:a16="http://schemas.microsoft.com/office/drawing/2014/main" id="{9B036ADB-BA28-4595-8355-A895DEFE17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1917" y="2760405"/>
            <a:ext cx="585982" cy="509004"/>
            <a:chOff x="1154" y="455"/>
            <a:chExt cx="3928" cy="3412"/>
          </a:xfrm>
        </p:grpSpPr>
        <p:sp>
          <p:nvSpPr>
            <p:cNvPr id="2056" name="Freeform 21">
              <a:extLst>
                <a:ext uri="{FF2B5EF4-FFF2-40B4-BE49-F238E27FC236}">
                  <a16:creationId xmlns:a16="http://schemas.microsoft.com/office/drawing/2014/main" id="{49F2FB40-13BC-433C-B295-DF4671F173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90" y="2845"/>
              <a:ext cx="3" cy="23"/>
            </a:xfrm>
            <a:custGeom>
              <a:avLst/>
              <a:gdLst>
                <a:gd name="T0" fmla="*/ 0 w 1"/>
                <a:gd name="T1" fmla="*/ 10 h 10"/>
                <a:gd name="T2" fmla="*/ 1 w 1"/>
                <a:gd name="T3" fmla="*/ 0 h 10"/>
                <a:gd name="T4" fmla="*/ 0 w 1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0">
                  <a:moveTo>
                    <a:pt x="0" y="10"/>
                  </a:moveTo>
                  <a:cubicBezTo>
                    <a:pt x="1" y="5"/>
                    <a:pt x="1" y="2"/>
                    <a:pt x="1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7" name="Freeform 22">
              <a:extLst>
                <a:ext uri="{FF2B5EF4-FFF2-40B4-BE49-F238E27FC236}">
                  <a16:creationId xmlns:a16="http://schemas.microsoft.com/office/drawing/2014/main" id="{AE6BB9A5-D096-4A22-AFE8-8D6B89A65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3" y="2694"/>
              <a:ext cx="12" cy="12"/>
            </a:xfrm>
            <a:custGeom>
              <a:avLst/>
              <a:gdLst>
                <a:gd name="T0" fmla="*/ 5 w 5"/>
                <a:gd name="T1" fmla="*/ 3 h 5"/>
                <a:gd name="T2" fmla="*/ 0 w 5"/>
                <a:gd name="T3" fmla="*/ 0 h 5"/>
                <a:gd name="T4" fmla="*/ 5 w 5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4" y="5"/>
                    <a:pt x="5" y="3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8" name="Freeform 23">
              <a:extLst>
                <a:ext uri="{FF2B5EF4-FFF2-40B4-BE49-F238E27FC236}">
                  <a16:creationId xmlns:a16="http://schemas.microsoft.com/office/drawing/2014/main" id="{E92B07B4-3CD9-4818-9CFB-006F896CB8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4" y="1548"/>
              <a:ext cx="5" cy="43"/>
            </a:xfrm>
            <a:custGeom>
              <a:avLst/>
              <a:gdLst>
                <a:gd name="T0" fmla="*/ 1 w 2"/>
                <a:gd name="T1" fmla="*/ 0 h 18"/>
                <a:gd name="T2" fmla="*/ 0 w 2"/>
                <a:gd name="T3" fmla="*/ 18 h 18"/>
                <a:gd name="T4" fmla="*/ 1 w 2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8">
                  <a:moveTo>
                    <a:pt x="1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2" y="8"/>
                    <a:pt x="1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9" name="Freeform 24">
              <a:extLst>
                <a:ext uri="{FF2B5EF4-FFF2-40B4-BE49-F238E27FC236}">
                  <a16:creationId xmlns:a16="http://schemas.microsoft.com/office/drawing/2014/main" id="{1EF26DD0-2448-4975-9D0C-C8C2FEA1E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1" y="3497"/>
              <a:ext cx="33" cy="38"/>
            </a:xfrm>
            <a:custGeom>
              <a:avLst/>
              <a:gdLst>
                <a:gd name="T0" fmla="*/ 0 w 14"/>
                <a:gd name="T1" fmla="*/ 16 h 16"/>
                <a:gd name="T2" fmla="*/ 2 w 14"/>
                <a:gd name="T3" fmla="*/ 0 h 16"/>
                <a:gd name="T4" fmla="*/ 0 w 14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6">
                  <a:moveTo>
                    <a:pt x="0" y="16"/>
                  </a:moveTo>
                  <a:cubicBezTo>
                    <a:pt x="14" y="8"/>
                    <a:pt x="4" y="6"/>
                    <a:pt x="2" y="0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0" name="Freeform 25">
              <a:extLst>
                <a:ext uri="{FF2B5EF4-FFF2-40B4-BE49-F238E27FC236}">
                  <a16:creationId xmlns:a16="http://schemas.microsoft.com/office/drawing/2014/main" id="{2E2B54BC-EB3B-40E4-936A-5FBE24F621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7" y="3474"/>
              <a:ext cx="7" cy="7"/>
            </a:xfrm>
            <a:custGeom>
              <a:avLst/>
              <a:gdLst>
                <a:gd name="T0" fmla="*/ 3 w 3"/>
                <a:gd name="T1" fmla="*/ 3 h 3"/>
                <a:gd name="T2" fmla="*/ 1 w 3"/>
                <a:gd name="T3" fmla="*/ 0 h 3"/>
                <a:gd name="T4" fmla="*/ 3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2"/>
                    <a:pt x="2" y="1"/>
                    <a:pt x="1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1" name="Freeform 26">
              <a:extLst>
                <a:ext uri="{FF2B5EF4-FFF2-40B4-BE49-F238E27FC236}">
                  <a16:creationId xmlns:a16="http://schemas.microsoft.com/office/drawing/2014/main" id="{C289839E-1D07-4D98-85D2-F7A898979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3" y="648"/>
              <a:ext cx="7" cy="5"/>
            </a:xfrm>
            <a:custGeom>
              <a:avLst/>
              <a:gdLst>
                <a:gd name="T0" fmla="*/ 3 w 3"/>
                <a:gd name="T1" fmla="*/ 2 h 2"/>
                <a:gd name="T2" fmla="*/ 2 w 3"/>
                <a:gd name="T3" fmla="*/ 2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0" y="0"/>
                    <a:pt x="1" y="0"/>
                    <a:pt x="2" y="2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2" name="Freeform 27">
              <a:extLst>
                <a:ext uri="{FF2B5EF4-FFF2-40B4-BE49-F238E27FC236}">
                  <a16:creationId xmlns:a16="http://schemas.microsoft.com/office/drawing/2014/main" id="{364CA78C-4E0B-4846-B904-D33D1A0EE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83" y="3764"/>
              <a:ext cx="24" cy="11"/>
            </a:xfrm>
            <a:custGeom>
              <a:avLst/>
              <a:gdLst>
                <a:gd name="T0" fmla="*/ 10 w 10"/>
                <a:gd name="T1" fmla="*/ 1 h 5"/>
                <a:gd name="T2" fmla="*/ 8 w 10"/>
                <a:gd name="T3" fmla="*/ 0 h 5"/>
                <a:gd name="T4" fmla="*/ 10 w 10"/>
                <a:gd name="T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10" y="1"/>
                  </a:moveTo>
                  <a:cubicBezTo>
                    <a:pt x="9" y="0"/>
                    <a:pt x="8" y="0"/>
                    <a:pt x="8" y="0"/>
                  </a:cubicBezTo>
                  <a:cubicBezTo>
                    <a:pt x="0" y="5"/>
                    <a:pt x="4" y="4"/>
                    <a:pt x="10" y="1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3" name="Freeform 28">
              <a:extLst>
                <a:ext uri="{FF2B5EF4-FFF2-40B4-BE49-F238E27FC236}">
                  <a16:creationId xmlns:a16="http://schemas.microsoft.com/office/drawing/2014/main" id="{E22B1862-2D5C-42A1-8122-107F434EA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0" y="792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4" name="Freeform 29">
              <a:extLst>
                <a:ext uri="{FF2B5EF4-FFF2-40B4-BE49-F238E27FC236}">
                  <a16:creationId xmlns:a16="http://schemas.microsoft.com/office/drawing/2014/main" id="{5E89DC0F-3520-4946-8F70-5440F568E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86" y="794"/>
              <a:ext cx="97" cy="85"/>
            </a:xfrm>
            <a:custGeom>
              <a:avLst/>
              <a:gdLst>
                <a:gd name="T0" fmla="*/ 0 w 41"/>
                <a:gd name="T1" fmla="*/ 36 h 36"/>
                <a:gd name="T2" fmla="*/ 41 w 41"/>
                <a:gd name="T3" fmla="*/ 7 h 36"/>
                <a:gd name="T4" fmla="*/ 11 w 41"/>
                <a:gd name="T5" fmla="*/ 0 h 36"/>
                <a:gd name="T6" fmla="*/ 0 w 41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6">
                  <a:moveTo>
                    <a:pt x="0" y="36"/>
                  </a:moveTo>
                  <a:cubicBezTo>
                    <a:pt x="13" y="26"/>
                    <a:pt x="27" y="16"/>
                    <a:pt x="41" y="7"/>
                  </a:cubicBezTo>
                  <a:cubicBezTo>
                    <a:pt x="22" y="13"/>
                    <a:pt x="17" y="8"/>
                    <a:pt x="11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5" name="Freeform 30">
              <a:extLst>
                <a:ext uri="{FF2B5EF4-FFF2-40B4-BE49-F238E27FC236}">
                  <a16:creationId xmlns:a16="http://schemas.microsoft.com/office/drawing/2014/main" id="{5B95F7D8-0B7F-44EF-918F-33B5C46836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54" y="455"/>
              <a:ext cx="3928" cy="3412"/>
            </a:xfrm>
            <a:custGeom>
              <a:avLst/>
              <a:gdLst>
                <a:gd name="T0" fmla="*/ 1647 w 1665"/>
                <a:gd name="T1" fmla="*/ 800 h 1448"/>
                <a:gd name="T2" fmla="*/ 1600 w 1665"/>
                <a:gd name="T3" fmla="*/ 661 h 1448"/>
                <a:gd name="T4" fmla="*/ 1579 w 1665"/>
                <a:gd name="T5" fmla="*/ 622 h 1448"/>
                <a:gd name="T6" fmla="*/ 1539 w 1665"/>
                <a:gd name="T7" fmla="*/ 482 h 1448"/>
                <a:gd name="T8" fmla="*/ 1490 w 1665"/>
                <a:gd name="T9" fmla="*/ 478 h 1448"/>
                <a:gd name="T10" fmla="*/ 1497 w 1665"/>
                <a:gd name="T11" fmla="*/ 458 h 1448"/>
                <a:gd name="T12" fmla="*/ 1528 w 1665"/>
                <a:gd name="T13" fmla="*/ 462 h 1448"/>
                <a:gd name="T14" fmla="*/ 1516 w 1665"/>
                <a:gd name="T15" fmla="*/ 399 h 1448"/>
                <a:gd name="T16" fmla="*/ 1484 w 1665"/>
                <a:gd name="T17" fmla="*/ 373 h 1448"/>
                <a:gd name="T18" fmla="*/ 1398 w 1665"/>
                <a:gd name="T19" fmla="*/ 287 h 1448"/>
                <a:gd name="T20" fmla="*/ 1388 w 1665"/>
                <a:gd name="T21" fmla="*/ 270 h 1448"/>
                <a:gd name="T22" fmla="*/ 1295 w 1665"/>
                <a:gd name="T23" fmla="*/ 170 h 1448"/>
                <a:gd name="T24" fmla="*/ 1221 w 1665"/>
                <a:gd name="T25" fmla="*/ 127 h 1448"/>
                <a:gd name="T26" fmla="*/ 1180 w 1665"/>
                <a:gd name="T27" fmla="*/ 106 h 1448"/>
                <a:gd name="T28" fmla="*/ 1119 w 1665"/>
                <a:gd name="T29" fmla="*/ 87 h 1448"/>
                <a:gd name="T30" fmla="*/ 962 w 1665"/>
                <a:gd name="T31" fmla="*/ 96 h 1448"/>
                <a:gd name="T32" fmla="*/ 1023 w 1665"/>
                <a:gd name="T33" fmla="*/ 27 h 1448"/>
                <a:gd name="T34" fmla="*/ 916 w 1665"/>
                <a:gd name="T35" fmla="*/ 69 h 1448"/>
                <a:gd name="T36" fmla="*/ 851 w 1665"/>
                <a:gd name="T37" fmla="*/ 26 h 1448"/>
                <a:gd name="T38" fmla="*/ 810 w 1665"/>
                <a:gd name="T39" fmla="*/ 72 h 1448"/>
                <a:gd name="T40" fmla="*/ 790 w 1665"/>
                <a:gd name="T41" fmla="*/ 29 h 1448"/>
                <a:gd name="T42" fmla="*/ 717 w 1665"/>
                <a:gd name="T43" fmla="*/ 45 h 1448"/>
                <a:gd name="T44" fmla="*/ 680 w 1665"/>
                <a:gd name="T45" fmla="*/ 84 h 1448"/>
                <a:gd name="T46" fmla="*/ 563 w 1665"/>
                <a:gd name="T47" fmla="*/ 62 h 1448"/>
                <a:gd name="T48" fmla="*/ 472 w 1665"/>
                <a:gd name="T49" fmla="*/ 137 h 1448"/>
                <a:gd name="T50" fmla="*/ 356 w 1665"/>
                <a:gd name="T51" fmla="*/ 192 h 1448"/>
                <a:gd name="T52" fmla="*/ 307 w 1665"/>
                <a:gd name="T53" fmla="*/ 224 h 1448"/>
                <a:gd name="T54" fmla="*/ 235 w 1665"/>
                <a:gd name="T55" fmla="*/ 284 h 1448"/>
                <a:gd name="T56" fmla="*/ 209 w 1665"/>
                <a:gd name="T57" fmla="*/ 308 h 1448"/>
                <a:gd name="T58" fmla="*/ 187 w 1665"/>
                <a:gd name="T59" fmla="*/ 333 h 1448"/>
                <a:gd name="T60" fmla="*/ 6 w 1665"/>
                <a:gd name="T61" fmla="*/ 981 h 1448"/>
                <a:gd name="T62" fmla="*/ 33 w 1665"/>
                <a:gd name="T63" fmla="*/ 1064 h 1448"/>
                <a:gd name="T64" fmla="*/ 106 w 1665"/>
                <a:gd name="T65" fmla="*/ 1191 h 1448"/>
                <a:gd name="T66" fmla="*/ 129 w 1665"/>
                <a:gd name="T67" fmla="*/ 1192 h 1448"/>
                <a:gd name="T68" fmla="*/ 203 w 1665"/>
                <a:gd name="T69" fmla="*/ 1267 h 1448"/>
                <a:gd name="T70" fmla="*/ 256 w 1665"/>
                <a:gd name="T71" fmla="*/ 1313 h 1448"/>
                <a:gd name="T72" fmla="*/ 479 w 1665"/>
                <a:gd name="T73" fmla="*/ 1375 h 1448"/>
                <a:gd name="T74" fmla="*/ 568 w 1665"/>
                <a:gd name="T75" fmla="*/ 1376 h 1448"/>
                <a:gd name="T76" fmla="*/ 684 w 1665"/>
                <a:gd name="T77" fmla="*/ 1424 h 1448"/>
                <a:gd name="T78" fmla="*/ 742 w 1665"/>
                <a:gd name="T79" fmla="*/ 1425 h 1448"/>
                <a:gd name="T80" fmla="*/ 845 w 1665"/>
                <a:gd name="T81" fmla="*/ 1390 h 1448"/>
                <a:gd name="T82" fmla="*/ 823 w 1665"/>
                <a:gd name="T83" fmla="*/ 1438 h 1448"/>
                <a:gd name="T84" fmla="*/ 890 w 1665"/>
                <a:gd name="T85" fmla="*/ 1438 h 1448"/>
                <a:gd name="T86" fmla="*/ 991 w 1665"/>
                <a:gd name="T87" fmla="*/ 1419 h 1448"/>
                <a:gd name="T88" fmla="*/ 1065 w 1665"/>
                <a:gd name="T89" fmla="*/ 1398 h 1448"/>
                <a:gd name="T90" fmla="*/ 1117 w 1665"/>
                <a:gd name="T91" fmla="*/ 1397 h 1448"/>
                <a:gd name="T92" fmla="*/ 1178 w 1665"/>
                <a:gd name="T93" fmla="*/ 1365 h 1448"/>
                <a:gd name="T94" fmla="*/ 1238 w 1665"/>
                <a:gd name="T95" fmla="*/ 1333 h 1448"/>
                <a:gd name="T96" fmla="*/ 1283 w 1665"/>
                <a:gd name="T97" fmla="*/ 1333 h 1448"/>
                <a:gd name="T98" fmla="*/ 1441 w 1665"/>
                <a:gd name="T99" fmla="*/ 1227 h 1448"/>
                <a:gd name="T100" fmla="*/ 1522 w 1665"/>
                <a:gd name="T101" fmla="*/ 1129 h 1448"/>
                <a:gd name="T102" fmla="*/ 1548 w 1665"/>
                <a:gd name="T103" fmla="*/ 1128 h 1448"/>
                <a:gd name="T104" fmla="*/ 1570 w 1665"/>
                <a:gd name="T105" fmla="*/ 1055 h 1448"/>
                <a:gd name="T106" fmla="*/ 1591 w 1665"/>
                <a:gd name="T107" fmla="*/ 989 h 1448"/>
                <a:gd name="T108" fmla="*/ 1596 w 1665"/>
                <a:gd name="T109" fmla="*/ 925 h 1448"/>
                <a:gd name="T110" fmla="*/ 1629 w 1665"/>
                <a:gd name="T111" fmla="*/ 868 h 1448"/>
                <a:gd name="T112" fmla="*/ 1500 w 1665"/>
                <a:gd name="T113" fmla="*/ 445 h 1448"/>
                <a:gd name="T114" fmla="*/ 1618 w 1665"/>
                <a:gd name="T115" fmla="*/ 857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65" h="1448">
                  <a:moveTo>
                    <a:pt x="1618" y="857"/>
                  </a:moveTo>
                  <a:cubicBezTo>
                    <a:pt x="1622" y="850"/>
                    <a:pt x="1624" y="841"/>
                    <a:pt x="1617" y="828"/>
                  </a:cubicBezTo>
                  <a:cubicBezTo>
                    <a:pt x="1631" y="828"/>
                    <a:pt x="1628" y="815"/>
                    <a:pt x="1629" y="799"/>
                  </a:cubicBezTo>
                  <a:cubicBezTo>
                    <a:pt x="1647" y="800"/>
                    <a:pt x="1647" y="800"/>
                    <a:pt x="1647" y="800"/>
                  </a:cubicBezTo>
                  <a:cubicBezTo>
                    <a:pt x="1641" y="782"/>
                    <a:pt x="1632" y="784"/>
                    <a:pt x="1623" y="774"/>
                  </a:cubicBezTo>
                  <a:cubicBezTo>
                    <a:pt x="1624" y="755"/>
                    <a:pt x="1638" y="750"/>
                    <a:pt x="1650" y="744"/>
                  </a:cubicBezTo>
                  <a:cubicBezTo>
                    <a:pt x="1651" y="713"/>
                    <a:pt x="1628" y="768"/>
                    <a:pt x="1622" y="731"/>
                  </a:cubicBezTo>
                  <a:cubicBezTo>
                    <a:pt x="1629" y="704"/>
                    <a:pt x="1616" y="688"/>
                    <a:pt x="1600" y="661"/>
                  </a:cubicBezTo>
                  <a:cubicBezTo>
                    <a:pt x="1603" y="642"/>
                    <a:pt x="1612" y="661"/>
                    <a:pt x="1616" y="654"/>
                  </a:cubicBezTo>
                  <a:cubicBezTo>
                    <a:pt x="1599" y="642"/>
                    <a:pt x="1599" y="642"/>
                    <a:pt x="1599" y="642"/>
                  </a:cubicBezTo>
                  <a:cubicBezTo>
                    <a:pt x="1599" y="638"/>
                    <a:pt x="1603" y="638"/>
                    <a:pt x="1606" y="638"/>
                  </a:cubicBezTo>
                  <a:cubicBezTo>
                    <a:pt x="1598" y="627"/>
                    <a:pt x="1587" y="641"/>
                    <a:pt x="1579" y="622"/>
                  </a:cubicBezTo>
                  <a:cubicBezTo>
                    <a:pt x="1558" y="622"/>
                    <a:pt x="1596" y="575"/>
                    <a:pt x="1567" y="558"/>
                  </a:cubicBezTo>
                  <a:cubicBezTo>
                    <a:pt x="1570" y="550"/>
                    <a:pt x="1578" y="557"/>
                    <a:pt x="1585" y="553"/>
                  </a:cubicBezTo>
                  <a:cubicBezTo>
                    <a:pt x="1560" y="525"/>
                    <a:pt x="1567" y="528"/>
                    <a:pt x="1537" y="509"/>
                  </a:cubicBezTo>
                  <a:cubicBezTo>
                    <a:pt x="1539" y="482"/>
                    <a:pt x="1539" y="482"/>
                    <a:pt x="1539" y="482"/>
                  </a:cubicBezTo>
                  <a:cubicBezTo>
                    <a:pt x="1533" y="504"/>
                    <a:pt x="1509" y="489"/>
                    <a:pt x="1490" y="478"/>
                  </a:cubicBezTo>
                  <a:cubicBezTo>
                    <a:pt x="1489" y="479"/>
                    <a:pt x="1489" y="480"/>
                    <a:pt x="1488" y="481"/>
                  </a:cubicBezTo>
                  <a:cubicBezTo>
                    <a:pt x="1487" y="479"/>
                    <a:pt x="1486" y="477"/>
                    <a:pt x="1485" y="475"/>
                  </a:cubicBezTo>
                  <a:cubicBezTo>
                    <a:pt x="1487" y="476"/>
                    <a:pt x="1488" y="477"/>
                    <a:pt x="1490" y="478"/>
                  </a:cubicBezTo>
                  <a:cubicBezTo>
                    <a:pt x="1490" y="476"/>
                    <a:pt x="1491" y="474"/>
                    <a:pt x="1492" y="473"/>
                  </a:cubicBezTo>
                  <a:cubicBezTo>
                    <a:pt x="1489" y="472"/>
                    <a:pt x="1486" y="472"/>
                    <a:pt x="1484" y="472"/>
                  </a:cubicBezTo>
                  <a:cubicBezTo>
                    <a:pt x="1482" y="467"/>
                    <a:pt x="1480" y="463"/>
                    <a:pt x="1478" y="459"/>
                  </a:cubicBezTo>
                  <a:cubicBezTo>
                    <a:pt x="1483" y="457"/>
                    <a:pt x="1490" y="457"/>
                    <a:pt x="1497" y="458"/>
                  </a:cubicBezTo>
                  <a:cubicBezTo>
                    <a:pt x="1496" y="463"/>
                    <a:pt x="1494" y="468"/>
                    <a:pt x="1492" y="473"/>
                  </a:cubicBezTo>
                  <a:cubicBezTo>
                    <a:pt x="1505" y="475"/>
                    <a:pt x="1519" y="476"/>
                    <a:pt x="1528" y="471"/>
                  </a:cubicBezTo>
                  <a:cubicBezTo>
                    <a:pt x="1526" y="470"/>
                    <a:pt x="1522" y="467"/>
                    <a:pt x="1520" y="463"/>
                  </a:cubicBezTo>
                  <a:cubicBezTo>
                    <a:pt x="1523" y="464"/>
                    <a:pt x="1526" y="464"/>
                    <a:pt x="1528" y="462"/>
                  </a:cubicBezTo>
                  <a:cubicBezTo>
                    <a:pt x="1529" y="460"/>
                    <a:pt x="1524" y="459"/>
                    <a:pt x="1518" y="456"/>
                  </a:cubicBezTo>
                  <a:cubicBezTo>
                    <a:pt x="1533" y="441"/>
                    <a:pt x="1533" y="441"/>
                    <a:pt x="1533" y="441"/>
                  </a:cubicBezTo>
                  <a:cubicBezTo>
                    <a:pt x="1525" y="443"/>
                    <a:pt x="1525" y="443"/>
                    <a:pt x="1525" y="443"/>
                  </a:cubicBezTo>
                  <a:cubicBezTo>
                    <a:pt x="1516" y="399"/>
                    <a:pt x="1516" y="399"/>
                    <a:pt x="1516" y="399"/>
                  </a:cubicBezTo>
                  <a:cubicBezTo>
                    <a:pt x="1500" y="391"/>
                    <a:pt x="1482" y="386"/>
                    <a:pt x="1463" y="380"/>
                  </a:cubicBezTo>
                  <a:cubicBezTo>
                    <a:pt x="1444" y="373"/>
                    <a:pt x="1427" y="364"/>
                    <a:pt x="1410" y="350"/>
                  </a:cubicBezTo>
                  <a:cubicBezTo>
                    <a:pt x="1429" y="349"/>
                    <a:pt x="1431" y="336"/>
                    <a:pt x="1445" y="325"/>
                  </a:cubicBezTo>
                  <a:cubicBezTo>
                    <a:pt x="1438" y="347"/>
                    <a:pt x="1473" y="350"/>
                    <a:pt x="1484" y="373"/>
                  </a:cubicBezTo>
                  <a:cubicBezTo>
                    <a:pt x="1479" y="361"/>
                    <a:pt x="1487" y="359"/>
                    <a:pt x="1492" y="360"/>
                  </a:cubicBezTo>
                  <a:cubicBezTo>
                    <a:pt x="1452" y="333"/>
                    <a:pt x="1452" y="333"/>
                    <a:pt x="1452" y="333"/>
                  </a:cubicBezTo>
                  <a:cubicBezTo>
                    <a:pt x="1465" y="325"/>
                    <a:pt x="1456" y="319"/>
                    <a:pt x="1452" y="307"/>
                  </a:cubicBezTo>
                  <a:cubicBezTo>
                    <a:pt x="1436" y="331"/>
                    <a:pt x="1416" y="294"/>
                    <a:pt x="1398" y="287"/>
                  </a:cubicBezTo>
                  <a:cubicBezTo>
                    <a:pt x="1404" y="279"/>
                    <a:pt x="1414" y="276"/>
                    <a:pt x="1427" y="294"/>
                  </a:cubicBezTo>
                  <a:cubicBezTo>
                    <a:pt x="1427" y="278"/>
                    <a:pt x="1416" y="277"/>
                    <a:pt x="1404" y="278"/>
                  </a:cubicBezTo>
                  <a:cubicBezTo>
                    <a:pt x="1392" y="278"/>
                    <a:pt x="1380" y="280"/>
                    <a:pt x="1379" y="265"/>
                  </a:cubicBezTo>
                  <a:cubicBezTo>
                    <a:pt x="1382" y="269"/>
                    <a:pt x="1383" y="272"/>
                    <a:pt x="1388" y="270"/>
                  </a:cubicBezTo>
                  <a:cubicBezTo>
                    <a:pt x="1373" y="268"/>
                    <a:pt x="1357" y="242"/>
                    <a:pt x="1367" y="241"/>
                  </a:cubicBezTo>
                  <a:cubicBezTo>
                    <a:pt x="1371" y="244"/>
                    <a:pt x="1371" y="244"/>
                    <a:pt x="1371" y="244"/>
                  </a:cubicBezTo>
                  <a:cubicBezTo>
                    <a:pt x="1349" y="217"/>
                    <a:pt x="1288" y="177"/>
                    <a:pt x="1270" y="196"/>
                  </a:cubicBezTo>
                  <a:cubicBezTo>
                    <a:pt x="1271" y="193"/>
                    <a:pt x="1290" y="173"/>
                    <a:pt x="1295" y="170"/>
                  </a:cubicBezTo>
                  <a:cubicBezTo>
                    <a:pt x="1272" y="178"/>
                    <a:pt x="1250" y="187"/>
                    <a:pt x="1229" y="196"/>
                  </a:cubicBezTo>
                  <a:cubicBezTo>
                    <a:pt x="1224" y="193"/>
                    <a:pt x="1218" y="190"/>
                    <a:pt x="1213" y="186"/>
                  </a:cubicBezTo>
                  <a:cubicBezTo>
                    <a:pt x="1222" y="165"/>
                    <a:pt x="1232" y="140"/>
                    <a:pt x="1253" y="143"/>
                  </a:cubicBezTo>
                  <a:cubicBezTo>
                    <a:pt x="1248" y="136"/>
                    <a:pt x="1240" y="128"/>
                    <a:pt x="1221" y="127"/>
                  </a:cubicBezTo>
                  <a:cubicBezTo>
                    <a:pt x="1224" y="132"/>
                    <a:pt x="1218" y="160"/>
                    <a:pt x="1211" y="158"/>
                  </a:cubicBezTo>
                  <a:cubicBezTo>
                    <a:pt x="1203" y="128"/>
                    <a:pt x="1204" y="140"/>
                    <a:pt x="1190" y="110"/>
                  </a:cubicBezTo>
                  <a:cubicBezTo>
                    <a:pt x="1195" y="118"/>
                    <a:pt x="1173" y="143"/>
                    <a:pt x="1161" y="138"/>
                  </a:cubicBezTo>
                  <a:cubicBezTo>
                    <a:pt x="1165" y="134"/>
                    <a:pt x="1174" y="107"/>
                    <a:pt x="1180" y="106"/>
                  </a:cubicBezTo>
                  <a:cubicBezTo>
                    <a:pt x="1165" y="112"/>
                    <a:pt x="1150" y="117"/>
                    <a:pt x="1136" y="123"/>
                  </a:cubicBezTo>
                  <a:cubicBezTo>
                    <a:pt x="1146" y="121"/>
                    <a:pt x="1149" y="98"/>
                    <a:pt x="1145" y="87"/>
                  </a:cubicBezTo>
                  <a:cubicBezTo>
                    <a:pt x="1146" y="94"/>
                    <a:pt x="1118" y="74"/>
                    <a:pt x="1108" y="75"/>
                  </a:cubicBezTo>
                  <a:cubicBezTo>
                    <a:pt x="1119" y="87"/>
                    <a:pt x="1119" y="87"/>
                    <a:pt x="1119" y="87"/>
                  </a:cubicBezTo>
                  <a:cubicBezTo>
                    <a:pt x="1085" y="71"/>
                    <a:pt x="1070" y="118"/>
                    <a:pt x="1036" y="106"/>
                  </a:cubicBezTo>
                  <a:cubicBezTo>
                    <a:pt x="1042" y="101"/>
                    <a:pt x="1059" y="69"/>
                    <a:pt x="1041" y="61"/>
                  </a:cubicBezTo>
                  <a:cubicBezTo>
                    <a:pt x="1034" y="68"/>
                    <a:pt x="1019" y="87"/>
                    <a:pt x="1001" y="104"/>
                  </a:cubicBezTo>
                  <a:cubicBezTo>
                    <a:pt x="988" y="101"/>
                    <a:pt x="975" y="98"/>
                    <a:pt x="962" y="96"/>
                  </a:cubicBezTo>
                  <a:cubicBezTo>
                    <a:pt x="965" y="93"/>
                    <a:pt x="968" y="91"/>
                    <a:pt x="970" y="89"/>
                  </a:cubicBezTo>
                  <a:cubicBezTo>
                    <a:pt x="989" y="73"/>
                    <a:pt x="1009" y="59"/>
                    <a:pt x="1024" y="52"/>
                  </a:cubicBezTo>
                  <a:cubicBezTo>
                    <a:pt x="1012" y="41"/>
                    <a:pt x="1023" y="40"/>
                    <a:pt x="1002" y="36"/>
                  </a:cubicBezTo>
                  <a:cubicBezTo>
                    <a:pt x="996" y="25"/>
                    <a:pt x="1016" y="25"/>
                    <a:pt x="1023" y="27"/>
                  </a:cubicBezTo>
                  <a:cubicBezTo>
                    <a:pt x="1007" y="21"/>
                    <a:pt x="991" y="14"/>
                    <a:pt x="974" y="10"/>
                  </a:cubicBezTo>
                  <a:cubicBezTo>
                    <a:pt x="973" y="30"/>
                    <a:pt x="933" y="23"/>
                    <a:pt x="933" y="39"/>
                  </a:cubicBezTo>
                  <a:cubicBezTo>
                    <a:pt x="989" y="28"/>
                    <a:pt x="989" y="28"/>
                    <a:pt x="989" y="28"/>
                  </a:cubicBezTo>
                  <a:cubicBezTo>
                    <a:pt x="987" y="48"/>
                    <a:pt x="948" y="78"/>
                    <a:pt x="916" y="69"/>
                  </a:cubicBezTo>
                  <a:cubicBezTo>
                    <a:pt x="909" y="60"/>
                    <a:pt x="927" y="35"/>
                    <a:pt x="928" y="29"/>
                  </a:cubicBezTo>
                  <a:cubicBezTo>
                    <a:pt x="922" y="34"/>
                    <a:pt x="893" y="38"/>
                    <a:pt x="891" y="33"/>
                  </a:cubicBezTo>
                  <a:cubicBezTo>
                    <a:pt x="907" y="24"/>
                    <a:pt x="907" y="24"/>
                    <a:pt x="907" y="24"/>
                  </a:cubicBezTo>
                  <a:cubicBezTo>
                    <a:pt x="888" y="15"/>
                    <a:pt x="873" y="47"/>
                    <a:pt x="851" y="26"/>
                  </a:cubicBezTo>
                  <a:cubicBezTo>
                    <a:pt x="843" y="24"/>
                    <a:pt x="828" y="0"/>
                    <a:pt x="826" y="11"/>
                  </a:cubicBezTo>
                  <a:cubicBezTo>
                    <a:pt x="834" y="25"/>
                    <a:pt x="836" y="55"/>
                    <a:pt x="835" y="80"/>
                  </a:cubicBezTo>
                  <a:cubicBezTo>
                    <a:pt x="826" y="80"/>
                    <a:pt x="818" y="80"/>
                    <a:pt x="809" y="80"/>
                  </a:cubicBezTo>
                  <a:cubicBezTo>
                    <a:pt x="810" y="72"/>
                    <a:pt x="810" y="72"/>
                    <a:pt x="810" y="72"/>
                  </a:cubicBezTo>
                  <a:cubicBezTo>
                    <a:pt x="805" y="72"/>
                    <a:pt x="805" y="72"/>
                    <a:pt x="805" y="72"/>
                  </a:cubicBezTo>
                  <a:cubicBezTo>
                    <a:pt x="805" y="80"/>
                    <a:pt x="805" y="80"/>
                    <a:pt x="805" y="80"/>
                  </a:cubicBezTo>
                  <a:cubicBezTo>
                    <a:pt x="797" y="79"/>
                    <a:pt x="788" y="79"/>
                    <a:pt x="779" y="79"/>
                  </a:cubicBezTo>
                  <a:cubicBezTo>
                    <a:pt x="776" y="62"/>
                    <a:pt x="799" y="43"/>
                    <a:pt x="790" y="29"/>
                  </a:cubicBezTo>
                  <a:cubicBezTo>
                    <a:pt x="789" y="35"/>
                    <a:pt x="782" y="41"/>
                    <a:pt x="779" y="43"/>
                  </a:cubicBezTo>
                  <a:cubicBezTo>
                    <a:pt x="771" y="39"/>
                    <a:pt x="783" y="26"/>
                    <a:pt x="764" y="30"/>
                  </a:cubicBezTo>
                  <a:cubicBezTo>
                    <a:pt x="762" y="50"/>
                    <a:pt x="728" y="30"/>
                    <a:pt x="756" y="47"/>
                  </a:cubicBezTo>
                  <a:cubicBezTo>
                    <a:pt x="739" y="53"/>
                    <a:pt x="738" y="44"/>
                    <a:pt x="717" y="45"/>
                  </a:cubicBezTo>
                  <a:cubicBezTo>
                    <a:pt x="721" y="52"/>
                    <a:pt x="717" y="63"/>
                    <a:pt x="710" y="73"/>
                  </a:cubicBezTo>
                  <a:cubicBezTo>
                    <a:pt x="708" y="77"/>
                    <a:pt x="706" y="80"/>
                    <a:pt x="703" y="83"/>
                  </a:cubicBezTo>
                  <a:cubicBezTo>
                    <a:pt x="696" y="84"/>
                    <a:pt x="689" y="85"/>
                    <a:pt x="681" y="85"/>
                  </a:cubicBezTo>
                  <a:cubicBezTo>
                    <a:pt x="681" y="85"/>
                    <a:pt x="681" y="84"/>
                    <a:pt x="680" y="84"/>
                  </a:cubicBezTo>
                  <a:cubicBezTo>
                    <a:pt x="646" y="86"/>
                    <a:pt x="626" y="81"/>
                    <a:pt x="593" y="88"/>
                  </a:cubicBezTo>
                  <a:cubicBezTo>
                    <a:pt x="590" y="83"/>
                    <a:pt x="573" y="81"/>
                    <a:pt x="577" y="71"/>
                  </a:cubicBezTo>
                  <a:cubicBezTo>
                    <a:pt x="573" y="75"/>
                    <a:pt x="571" y="83"/>
                    <a:pt x="561" y="86"/>
                  </a:cubicBezTo>
                  <a:cubicBezTo>
                    <a:pt x="537" y="75"/>
                    <a:pt x="582" y="78"/>
                    <a:pt x="563" y="62"/>
                  </a:cubicBezTo>
                  <a:cubicBezTo>
                    <a:pt x="564" y="73"/>
                    <a:pt x="541" y="84"/>
                    <a:pt x="529" y="95"/>
                  </a:cubicBezTo>
                  <a:cubicBezTo>
                    <a:pt x="538" y="111"/>
                    <a:pt x="562" y="90"/>
                    <a:pt x="574" y="79"/>
                  </a:cubicBezTo>
                  <a:cubicBezTo>
                    <a:pt x="576" y="87"/>
                    <a:pt x="575" y="96"/>
                    <a:pt x="572" y="105"/>
                  </a:cubicBezTo>
                  <a:cubicBezTo>
                    <a:pt x="538" y="114"/>
                    <a:pt x="505" y="124"/>
                    <a:pt x="472" y="137"/>
                  </a:cubicBezTo>
                  <a:cubicBezTo>
                    <a:pt x="461" y="137"/>
                    <a:pt x="446" y="142"/>
                    <a:pt x="430" y="150"/>
                  </a:cubicBezTo>
                  <a:cubicBezTo>
                    <a:pt x="419" y="155"/>
                    <a:pt x="407" y="160"/>
                    <a:pt x="395" y="165"/>
                  </a:cubicBezTo>
                  <a:cubicBezTo>
                    <a:pt x="384" y="169"/>
                    <a:pt x="373" y="174"/>
                    <a:pt x="362" y="176"/>
                  </a:cubicBezTo>
                  <a:cubicBezTo>
                    <a:pt x="360" y="182"/>
                    <a:pt x="356" y="188"/>
                    <a:pt x="356" y="192"/>
                  </a:cubicBezTo>
                  <a:cubicBezTo>
                    <a:pt x="339" y="202"/>
                    <a:pt x="323" y="213"/>
                    <a:pt x="308" y="224"/>
                  </a:cubicBezTo>
                  <a:cubicBezTo>
                    <a:pt x="291" y="231"/>
                    <a:pt x="291" y="231"/>
                    <a:pt x="291" y="231"/>
                  </a:cubicBezTo>
                  <a:cubicBezTo>
                    <a:pt x="297" y="230"/>
                    <a:pt x="297" y="230"/>
                    <a:pt x="297" y="230"/>
                  </a:cubicBezTo>
                  <a:cubicBezTo>
                    <a:pt x="307" y="224"/>
                    <a:pt x="307" y="224"/>
                    <a:pt x="307" y="224"/>
                  </a:cubicBezTo>
                  <a:cubicBezTo>
                    <a:pt x="287" y="239"/>
                    <a:pt x="267" y="254"/>
                    <a:pt x="248" y="271"/>
                  </a:cubicBezTo>
                  <a:cubicBezTo>
                    <a:pt x="247" y="269"/>
                    <a:pt x="246" y="267"/>
                    <a:pt x="244" y="266"/>
                  </a:cubicBezTo>
                  <a:cubicBezTo>
                    <a:pt x="241" y="272"/>
                    <a:pt x="238" y="277"/>
                    <a:pt x="235" y="283"/>
                  </a:cubicBezTo>
                  <a:cubicBezTo>
                    <a:pt x="235" y="283"/>
                    <a:pt x="235" y="283"/>
                    <a:pt x="235" y="284"/>
                  </a:cubicBezTo>
                  <a:cubicBezTo>
                    <a:pt x="232" y="281"/>
                    <a:pt x="233" y="273"/>
                    <a:pt x="228" y="275"/>
                  </a:cubicBezTo>
                  <a:cubicBezTo>
                    <a:pt x="230" y="278"/>
                    <a:pt x="230" y="283"/>
                    <a:pt x="230" y="288"/>
                  </a:cubicBezTo>
                  <a:cubicBezTo>
                    <a:pt x="223" y="295"/>
                    <a:pt x="216" y="301"/>
                    <a:pt x="210" y="308"/>
                  </a:cubicBezTo>
                  <a:cubicBezTo>
                    <a:pt x="209" y="308"/>
                    <a:pt x="209" y="308"/>
                    <a:pt x="209" y="308"/>
                  </a:cubicBezTo>
                  <a:cubicBezTo>
                    <a:pt x="209" y="308"/>
                    <a:pt x="209" y="308"/>
                    <a:pt x="209" y="309"/>
                  </a:cubicBezTo>
                  <a:cubicBezTo>
                    <a:pt x="203" y="314"/>
                    <a:pt x="198" y="320"/>
                    <a:pt x="193" y="326"/>
                  </a:cubicBezTo>
                  <a:cubicBezTo>
                    <a:pt x="192" y="327"/>
                    <a:pt x="191" y="327"/>
                    <a:pt x="189" y="328"/>
                  </a:cubicBezTo>
                  <a:cubicBezTo>
                    <a:pt x="189" y="330"/>
                    <a:pt x="188" y="331"/>
                    <a:pt x="187" y="333"/>
                  </a:cubicBezTo>
                  <a:cubicBezTo>
                    <a:pt x="74" y="464"/>
                    <a:pt x="8" y="645"/>
                    <a:pt x="29" y="879"/>
                  </a:cubicBezTo>
                  <a:cubicBezTo>
                    <a:pt x="30" y="893"/>
                    <a:pt x="31" y="907"/>
                    <a:pt x="33" y="920"/>
                  </a:cubicBezTo>
                  <a:cubicBezTo>
                    <a:pt x="23" y="929"/>
                    <a:pt x="12" y="939"/>
                    <a:pt x="0" y="940"/>
                  </a:cubicBezTo>
                  <a:cubicBezTo>
                    <a:pt x="13" y="949"/>
                    <a:pt x="9" y="963"/>
                    <a:pt x="6" y="981"/>
                  </a:cubicBezTo>
                  <a:cubicBezTo>
                    <a:pt x="4" y="998"/>
                    <a:pt x="1" y="1019"/>
                    <a:pt x="26" y="1028"/>
                  </a:cubicBezTo>
                  <a:cubicBezTo>
                    <a:pt x="24" y="1037"/>
                    <a:pt x="15" y="1025"/>
                    <a:pt x="10" y="1032"/>
                  </a:cubicBezTo>
                  <a:cubicBezTo>
                    <a:pt x="25" y="1036"/>
                    <a:pt x="32" y="1044"/>
                    <a:pt x="36" y="1064"/>
                  </a:cubicBezTo>
                  <a:cubicBezTo>
                    <a:pt x="33" y="1064"/>
                    <a:pt x="33" y="1064"/>
                    <a:pt x="33" y="1064"/>
                  </a:cubicBezTo>
                  <a:cubicBezTo>
                    <a:pt x="36" y="1070"/>
                    <a:pt x="39" y="1076"/>
                    <a:pt x="42" y="1081"/>
                  </a:cubicBezTo>
                  <a:cubicBezTo>
                    <a:pt x="45" y="1087"/>
                    <a:pt x="48" y="1092"/>
                    <a:pt x="51" y="1097"/>
                  </a:cubicBezTo>
                  <a:cubicBezTo>
                    <a:pt x="57" y="1106"/>
                    <a:pt x="62" y="1116"/>
                    <a:pt x="66" y="1126"/>
                  </a:cubicBezTo>
                  <a:cubicBezTo>
                    <a:pt x="75" y="1146"/>
                    <a:pt x="87" y="1164"/>
                    <a:pt x="106" y="1191"/>
                  </a:cubicBezTo>
                  <a:cubicBezTo>
                    <a:pt x="113" y="1178"/>
                    <a:pt x="113" y="1178"/>
                    <a:pt x="113" y="1178"/>
                  </a:cubicBezTo>
                  <a:cubicBezTo>
                    <a:pt x="121" y="1189"/>
                    <a:pt x="119" y="1195"/>
                    <a:pt x="122" y="1202"/>
                  </a:cubicBezTo>
                  <a:cubicBezTo>
                    <a:pt x="147" y="1198"/>
                    <a:pt x="96" y="1173"/>
                    <a:pt x="122" y="1167"/>
                  </a:cubicBezTo>
                  <a:cubicBezTo>
                    <a:pt x="120" y="1175"/>
                    <a:pt x="123" y="1184"/>
                    <a:pt x="129" y="1192"/>
                  </a:cubicBezTo>
                  <a:cubicBezTo>
                    <a:pt x="135" y="1200"/>
                    <a:pt x="144" y="1208"/>
                    <a:pt x="153" y="1216"/>
                  </a:cubicBezTo>
                  <a:cubicBezTo>
                    <a:pt x="170" y="1231"/>
                    <a:pt x="186" y="1246"/>
                    <a:pt x="182" y="1262"/>
                  </a:cubicBezTo>
                  <a:cubicBezTo>
                    <a:pt x="199" y="1274"/>
                    <a:pt x="186" y="1245"/>
                    <a:pt x="203" y="1257"/>
                  </a:cubicBezTo>
                  <a:cubicBezTo>
                    <a:pt x="203" y="1267"/>
                    <a:pt x="203" y="1267"/>
                    <a:pt x="203" y="1267"/>
                  </a:cubicBezTo>
                  <a:cubicBezTo>
                    <a:pt x="214" y="1261"/>
                    <a:pt x="214" y="1261"/>
                    <a:pt x="214" y="1261"/>
                  </a:cubicBezTo>
                  <a:cubicBezTo>
                    <a:pt x="224" y="1270"/>
                    <a:pt x="224" y="1283"/>
                    <a:pt x="220" y="1289"/>
                  </a:cubicBezTo>
                  <a:cubicBezTo>
                    <a:pt x="218" y="1287"/>
                    <a:pt x="211" y="1286"/>
                    <a:pt x="208" y="1284"/>
                  </a:cubicBezTo>
                  <a:cubicBezTo>
                    <a:pt x="217" y="1304"/>
                    <a:pt x="253" y="1308"/>
                    <a:pt x="256" y="1313"/>
                  </a:cubicBezTo>
                  <a:cubicBezTo>
                    <a:pt x="241" y="1299"/>
                    <a:pt x="241" y="1299"/>
                    <a:pt x="241" y="1299"/>
                  </a:cubicBezTo>
                  <a:cubicBezTo>
                    <a:pt x="294" y="1320"/>
                    <a:pt x="352" y="1359"/>
                    <a:pt x="409" y="1359"/>
                  </a:cubicBezTo>
                  <a:cubicBezTo>
                    <a:pt x="407" y="1351"/>
                    <a:pt x="407" y="1351"/>
                    <a:pt x="407" y="1351"/>
                  </a:cubicBezTo>
                  <a:cubicBezTo>
                    <a:pt x="449" y="1352"/>
                    <a:pt x="435" y="1369"/>
                    <a:pt x="479" y="1375"/>
                  </a:cubicBezTo>
                  <a:cubicBezTo>
                    <a:pt x="477" y="1376"/>
                    <a:pt x="477" y="1376"/>
                    <a:pt x="477" y="1376"/>
                  </a:cubicBezTo>
                  <a:cubicBezTo>
                    <a:pt x="487" y="1372"/>
                    <a:pt x="500" y="1372"/>
                    <a:pt x="511" y="1375"/>
                  </a:cubicBezTo>
                  <a:cubicBezTo>
                    <a:pt x="498" y="1380"/>
                    <a:pt x="528" y="1395"/>
                    <a:pt x="512" y="1399"/>
                  </a:cubicBezTo>
                  <a:cubicBezTo>
                    <a:pt x="557" y="1396"/>
                    <a:pt x="535" y="1394"/>
                    <a:pt x="568" y="1376"/>
                  </a:cubicBezTo>
                  <a:cubicBezTo>
                    <a:pt x="572" y="1387"/>
                    <a:pt x="572" y="1387"/>
                    <a:pt x="572" y="1387"/>
                  </a:cubicBezTo>
                  <a:cubicBezTo>
                    <a:pt x="583" y="1380"/>
                    <a:pt x="585" y="1375"/>
                    <a:pt x="606" y="1376"/>
                  </a:cubicBezTo>
                  <a:cubicBezTo>
                    <a:pt x="588" y="1382"/>
                    <a:pt x="618" y="1395"/>
                    <a:pt x="596" y="1403"/>
                  </a:cubicBezTo>
                  <a:cubicBezTo>
                    <a:pt x="639" y="1433"/>
                    <a:pt x="666" y="1388"/>
                    <a:pt x="684" y="1424"/>
                  </a:cubicBezTo>
                  <a:cubicBezTo>
                    <a:pt x="707" y="1397"/>
                    <a:pt x="646" y="1404"/>
                    <a:pt x="658" y="1398"/>
                  </a:cubicBezTo>
                  <a:cubicBezTo>
                    <a:pt x="650" y="1387"/>
                    <a:pt x="677" y="1379"/>
                    <a:pt x="691" y="1382"/>
                  </a:cubicBezTo>
                  <a:cubicBezTo>
                    <a:pt x="705" y="1384"/>
                    <a:pt x="713" y="1422"/>
                    <a:pt x="750" y="1423"/>
                  </a:cubicBezTo>
                  <a:cubicBezTo>
                    <a:pt x="746" y="1423"/>
                    <a:pt x="746" y="1425"/>
                    <a:pt x="742" y="1425"/>
                  </a:cubicBezTo>
                  <a:cubicBezTo>
                    <a:pt x="756" y="1433"/>
                    <a:pt x="770" y="1416"/>
                    <a:pt x="787" y="1428"/>
                  </a:cubicBezTo>
                  <a:cubicBezTo>
                    <a:pt x="796" y="1409"/>
                    <a:pt x="809" y="1428"/>
                    <a:pt x="811" y="1405"/>
                  </a:cubicBezTo>
                  <a:cubicBezTo>
                    <a:pt x="778" y="1411"/>
                    <a:pt x="778" y="1411"/>
                    <a:pt x="778" y="1411"/>
                  </a:cubicBezTo>
                  <a:cubicBezTo>
                    <a:pt x="797" y="1405"/>
                    <a:pt x="814" y="1378"/>
                    <a:pt x="845" y="1390"/>
                  </a:cubicBezTo>
                  <a:cubicBezTo>
                    <a:pt x="843" y="1395"/>
                    <a:pt x="834" y="1401"/>
                    <a:pt x="827" y="1405"/>
                  </a:cubicBezTo>
                  <a:cubicBezTo>
                    <a:pt x="837" y="1411"/>
                    <a:pt x="845" y="1400"/>
                    <a:pt x="855" y="1406"/>
                  </a:cubicBezTo>
                  <a:cubicBezTo>
                    <a:pt x="853" y="1430"/>
                    <a:pt x="814" y="1412"/>
                    <a:pt x="794" y="1430"/>
                  </a:cubicBezTo>
                  <a:cubicBezTo>
                    <a:pt x="804" y="1440"/>
                    <a:pt x="833" y="1413"/>
                    <a:pt x="823" y="1438"/>
                  </a:cubicBezTo>
                  <a:cubicBezTo>
                    <a:pt x="837" y="1407"/>
                    <a:pt x="860" y="1441"/>
                    <a:pt x="883" y="1415"/>
                  </a:cubicBezTo>
                  <a:cubicBezTo>
                    <a:pt x="883" y="1428"/>
                    <a:pt x="883" y="1428"/>
                    <a:pt x="883" y="1428"/>
                  </a:cubicBezTo>
                  <a:cubicBezTo>
                    <a:pt x="887" y="1426"/>
                    <a:pt x="894" y="1419"/>
                    <a:pt x="902" y="1419"/>
                  </a:cubicBezTo>
                  <a:cubicBezTo>
                    <a:pt x="890" y="1438"/>
                    <a:pt x="890" y="1438"/>
                    <a:pt x="890" y="1438"/>
                  </a:cubicBezTo>
                  <a:cubicBezTo>
                    <a:pt x="909" y="1421"/>
                    <a:pt x="931" y="1448"/>
                    <a:pt x="950" y="1437"/>
                  </a:cubicBezTo>
                  <a:cubicBezTo>
                    <a:pt x="909" y="1443"/>
                    <a:pt x="939" y="1421"/>
                    <a:pt x="920" y="1413"/>
                  </a:cubicBezTo>
                  <a:cubicBezTo>
                    <a:pt x="967" y="1389"/>
                    <a:pt x="954" y="1443"/>
                    <a:pt x="1006" y="1431"/>
                  </a:cubicBezTo>
                  <a:cubicBezTo>
                    <a:pt x="997" y="1432"/>
                    <a:pt x="981" y="1426"/>
                    <a:pt x="991" y="1419"/>
                  </a:cubicBezTo>
                  <a:cubicBezTo>
                    <a:pt x="1002" y="1420"/>
                    <a:pt x="1017" y="1423"/>
                    <a:pt x="1025" y="1428"/>
                  </a:cubicBezTo>
                  <a:cubicBezTo>
                    <a:pt x="1062" y="1417"/>
                    <a:pt x="1016" y="1415"/>
                    <a:pt x="1031" y="1404"/>
                  </a:cubicBezTo>
                  <a:cubicBezTo>
                    <a:pt x="1047" y="1417"/>
                    <a:pt x="1047" y="1393"/>
                    <a:pt x="1062" y="1384"/>
                  </a:cubicBezTo>
                  <a:cubicBezTo>
                    <a:pt x="1065" y="1398"/>
                    <a:pt x="1065" y="1398"/>
                    <a:pt x="1065" y="1398"/>
                  </a:cubicBezTo>
                  <a:cubicBezTo>
                    <a:pt x="1110" y="1397"/>
                    <a:pt x="1069" y="1367"/>
                    <a:pt x="1109" y="1368"/>
                  </a:cubicBezTo>
                  <a:cubicBezTo>
                    <a:pt x="1098" y="1391"/>
                    <a:pt x="1098" y="1391"/>
                    <a:pt x="1098" y="1391"/>
                  </a:cubicBezTo>
                  <a:cubicBezTo>
                    <a:pt x="1117" y="1380"/>
                    <a:pt x="1117" y="1380"/>
                    <a:pt x="1117" y="1380"/>
                  </a:cubicBezTo>
                  <a:cubicBezTo>
                    <a:pt x="1117" y="1397"/>
                    <a:pt x="1117" y="1397"/>
                    <a:pt x="1117" y="1397"/>
                  </a:cubicBezTo>
                  <a:cubicBezTo>
                    <a:pt x="1135" y="1379"/>
                    <a:pt x="1142" y="1380"/>
                    <a:pt x="1165" y="1378"/>
                  </a:cubicBezTo>
                  <a:cubicBezTo>
                    <a:pt x="1157" y="1370"/>
                    <a:pt x="1159" y="1353"/>
                    <a:pt x="1176" y="1346"/>
                  </a:cubicBezTo>
                  <a:cubicBezTo>
                    <a:pt x="1191" y="1349"/>
                    <a:pt x="1174" y="1361"/>
                    <a:pt x="1199" y="1349"/>
                  </a:cubicBezTo>
                  <a:cubicBezTo>
                    <a:pt x="1196" y="1359"/>
                    <a:pt x="1194" y="1372"/>
                    <a:pt x="1178" y="1365"/>
                  </a:cubicBezTo>
                  <a:cubicBezTo>
                    <a:pt x="1179" y="1369"/>
                    <a:pt x="1176" y="1375"/>
                    <a:pt x="1176" y="1380"/>
                  </a:cubicBezTo>
                  <a:cubicBezTo>
                    <a:pt x="1193" y="1384"/>
                    <a:pt x="1210" y="1369"/>
                    <a:pt x="1220" y="1365"/>
                  </a:cubicBezTo>
                  <a:cubicBezTo>
                    <a:pt x="1216" y="1366"/>
                    <a:pt x="1211" y="1367"/>
                    <a:pt x="1208" y="1366"/>
                  </a:cubicBezTo>
                  <a:cubicBezTo>
                    <a:pt x="1218" y="1355"/>
                    <a:pt x="1228" y="1344"/>
                    <a:pt x="1238" y="1333"/>
                  </a:cubicBezTo>
                  <a:cubicBezTo>
                    <a:pt x="1245" y="1335"/>
                    <a:pt x="1243" y="1341"/>
                    <a:pt x="1240" y="1347"/>
                  </a:cubicBezTo>
                  <a:cubicBezTo>
                    <a:pt x="1247" y="1342"/>
                    <a:pt x="1249" y="1334"/>
                    <a:pt x="1259" y="1327"/>
                  </a:cubicBezTo>
                  <a:cubicBezTo>
                    <a:pt x="1261" y="1339"/>
                    <a:pt x="1267" y="1349"/>
                    <a:pt x="1254" y="1362"/>
                  </a:cubicBezTo>
                  <a:cubicBezTo>
                    <a:pt x="1283" y="1333"/>
                    <a:pt x="1283" y="1333"/>
                    <a:pt x="1283" y="1333"/>
                  </a:cubicBezTo>
                  <a:cubicBezTo>
                    <a:pt x="1288" y="1337"/>
                    <a:pt x="1307" y="1336"/>
                    <a:pt x="1305" y="1342"/>
                  </a:cubicBezTo>
                  <a:cubicBezTo>
                    <a:pt x="1328" y="1339"/>
                    <a:pt x="1340" y="1296"/>
                    <a:pt x="1369" y="1288"/>
                  </a:cubicBezTo>
                  <a:cubicBezTo>
                    <a:pt x="1369" y="1286"/>
                    <a:pt x="1370" y="1282"/>
                    <a:pt x="1375" y="1278"/>
                  </a:cubicBezTo>
                  <a:cubicBezTo>
                    <a:pt x="1398" y="1264"/>
                    <a:pt x="1426" y="1259"/>
                    <a:pt x="1441" y="1227"/>
                  </a:cubicBezTo>
                  <a:cubicBezTo>
                    <a:pt x="1468" y="1228"/>
                    <a:pt x="1468" y="1228"/>
                    <a:pt x="1468" y="1228"/>
                  </a:cubicBezTo>
                  <a:cubicBezTo>
                    <a:pt x="1484" y="1207"/>
                    <a:pt x="1433" y="1228"/>
                    <a:pt x="1458" y="1192"/>
                  </a:cubicBezTo>
                  <a:cubicBezTo>
                    <a:pt x="1474" y="1166"/>
                    <a:pt x="1478" y="1196"/>
                    <a:pt x="1490" y="1192"/>
                  </a:cubicBezTo>
                  <a:cubicBezTo>
                    <a:pt x="1494" y="1175"/>
                    <a:pt x="1492" y="1141"/>
                    <a:pt x="1522" y="1129"/>
                  </a:cubicBezTo>
                  <a:cubicBezTo>
                    <a:pt x="1520" y="1139"/>
                    <a:pt x="1513" y="1143"/>
                    <a:pt x="1509" y="1150"/>
                  </a:cubicBezTo>
                  <a:cubicBezTo>
                    <a:pt x="1531" y="1140"/>
                    <a:pt x="1531" y="1140"/>
                    <a:pt x="1531" y="1140"/>
                  </a:cubicBezTo>
                  <a:cubicBezTo>
                    <a:pt x="1530" y="1172"/>
                    <a:pt x="1513" y="1184"/>
                    <a:pt x="1538" y="1177"/>
                  </a:cubicBezTo>
                  <a:cubicBezTo>
                    <a:pt x="1524" y="1164"/>
                    <a:pt x="1536" y="1146"/>
                    <a:pt x="1548" y="1128"/>
                  </a:cubicBezTo>
                  <a:cubicBezTo>
                    <a:pt x="1560" y="1111"/>
                    <a:pt x="1568" y="1090"/>
                    <a:pt x="1552" y="1080"/>
                  </a:cubicBezTo>
                  <a:cubicBezTo>
                    <a:pt x="1566" y="1071"/>
                    <a:pt x="1566" y="1071"/>
                    <a:pt x="1566" y="1071"/>
                  </a:cubicBezTo>
                  <a:cubicBezTo>
                    <a:pt x="1564" y="1075"/>
                    <a:pt x="1566" y="1077"/>
                    <a:pt x="1563" y="1080"/>
                  </a:cubicBezTo>
                  <a:cubicBezTo>
                    <a:pt x="1578" y="1072"/>
                    <a:pt x="1575" y="1064"/>
                    <a:pt x="1570" y="1055"/>
                  </a:cubicBezTo>
                  <a:cubicBezTo>
                    <a:pt x="1565" y="1045"/>
                    <a:pt x="1560" y="1035"/>
                    <a:pt x="1568" y="1020"/>
                  </a:cubicBezTo>
                  <a:cubicBezTo>
                    <a:pt x="1575" y="1011"/>
                    <a:pt x="1583" y="1005"/>
                    <a:pt x="1585" y="1014"/>
                  </a:cubicBezTo>
                  <a:cubicBezTo>
                    <a:pt x="1585" y="985"/>
                    <a:pt x="1585" y="985"/>
                    <a:pt x="1585" y="985"/>
                  </a:cubicBezTo>
                  <a:cubicBezTo>
                    <a:pt x="1589" y="978"/>
                    <a:pt x="1595" y="982"/>
                    <a:pt x="1591" y="989"/>
                  </a:cubicBezTo>
                  <a:cubicBezTo>
                    <a:pt x="1595" y="976"/>
                    <a:pt x="1599" y="963"/>
                    <a:pt x="1601" y="949"/>
                  </a:cubicBezTo>
                  <a:cubicBezTo>
                    <a:pt x="1602" y="950"/>
                    <a:pt x="1602" y="950"/>
                    <a:pt x="1602" y="950"/>
                  </a:cubicBezTo>
                  <a:cubicBezTo>
                    <a:pt x="1597" y="942"/>
                    <a:pt x="1591" y="927"/>
                    <a:pt x="1588" y="920"/>
                  </a:cubicBezTo>
                  <a:cubicBezTo>
                    <a:pt x="1596" y="912"/>
                    <a:pt x="1591" y="926"/>
                    <a:pt x="1596" y="925"/>
                  </a:cubicBezTo>
                  <a:cubicBezTo>
                    <a:pt x="1592" y="901"/>
                    <a:pt x="1592" y="901"/>
                    <a:pt x="1592" y="901"/>
                  </a:cubicBezTo>
                  <a:cubicBezTo>
                    <a:pt x="1604" y="894"/>
                    <a:pt x="1610" y="914"/>
                    <a:pt x="1605" y="929"/>
                  </a:cubicBezTo>
                  <a:cubicBezTo>
                    <a:pt x="1626" y="923"/>
                    <a:pt x="1625" y="918"/>
                    <a:pt x="1622" y="909"/>
                  </a:cubicBezTo>
                  <a:cubicBezTo>
                    <a:pt x="1619" y="900"/>
                    <a:pt x="1617" y="889"/>
                    <a:pt x="1629" y="868"/>
                  </a:cubicBezTo>
                  <a:cubicBezTo>
                    <a:pt x="1630" y="875"/>
                    <a:pt x="1632" y="882"/>
                    <a:pt x="1632" y="890"/>
                  </a:cubicBezTo>
                  <a:cubicBezTo>
                    <a:pt x="1656" y="879"/>
                    <a:pt x="1649" y="861"/>
                    <a:pt x="1665" y="836"/>
                  </a:cubicBezTo>
                  <a:cubicBezTo>
                    <a:pt x="1657" y="843"/>
                    <a:pt x="1626" y="883"/>
                    <a:pt x="1618" y="857"/>
                  </a:cubicBezTo>
                  <a:close/>
                  <a:moveTo>
                    <a:pt x="1500" y="445"/>
                  </a:moveTo>
                  <a:cubicBezTo>
                    <a:pt x="1497" y="441"/>
                    <a:pt x="1494" y="436"/>
                    <a:pt x="1494" y="428"/>
                  </a:cubicBezTo>
                  <a:cubicBezTo>
                    <a:pt x="1500" y="430"/>
                    <a:pt x="1502" y="436"/>
                    <a:pt x="1500" y="445"/>
                  </a:cubicBezTo>
                  <a:close/>
                  <a:moveTo>
                    <a:pt x="1620" y="880"/>
                  </a:moveTo>
                  <a:cubicBezTo>
                    <a:pt x="1605" y="871"/>
                    <a:pt x="1613" y="867"/>
                    <a:pt x="1618" y="857"/>
                  </a:cubicBezTo>
                  <a:cubicBezTo>
                    <a:pt x="1620" y="864"/>
                    <a:pt x="1628" y="877"/>
                    <a:pt x="1620" y="88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6" name="Freeform 31">
              <a:extLst>
                <a:ext uri="{FF2B5EF4-FFF2-40B4-BE49-F238E27FC236}">
                  <a16:creationId xmlns:a16="http://schemas.microsoft.com/office/drawing/2014/main" id="{7D803C9E-2878-43CF-9690-56BFCB7F85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8" y="1551"/>
              <a:ext cx="15" cy="16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6 h 7"/>
                <a:gd name="T4" fmla="*/ 6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5" y="3"/>
                    <a:pt x="3" y="4"/>
                    <a:pt x="0" y="6"/>
                  </a:cubicBezTo>
                  <a:cubicBezTo>
                    <a:pt x="3" y="7"/>
                    <a:pt x="6" y="6"/>
                    <a:pt x="6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7" name="Freeform 32">
              <a:extLst>
                <a:ext uri="{FF2B5EF4-FFF2-40B4-BE49-F238E27FC236}">
                  <a16:creationId xmlns:a16="http://schemas.microsoft.com/office/drawing/2014/main" id="{E0A2E188-A75E-4798-8358-D4D7E60413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3" y="3490"/>
              <a:ext cx="3" cy="7"/>
            </a:xfrm>
            <a:custGeom>
              <a:avLst/>
              <a:gdLst>
                <a:gd name="T0" fmla="*/ 0 w 1"/>
                <a:gd name="T1" fmla="*/ 0 h 3"/>
                <a:gd name="T2" fmla="*/ 1 w 1"/>
                <a:gd name="T3" fmla="*/ 3 h 3"/>
                <a:gd name="T4" fmla="*/ 1 w 1"/>
                <a:gd name="T5" fmla="*/ 0 h 3"/>
                <a:gd name="T6" fmla="*/ 0 w 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8" name="Freeform 33">
              <a:extLst>
                <a:ext uri="{FF2B5EF4-FFF2-40B4-BE49-F238E27FC236}">
                  <a16:creationId xmlns:a16="http://schemas.microsoft.com/office/drawing/2014/main" id="{E1D56BC3-FD45-4357-9E6F-F5D9E89A40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1" y="507"/>
              <a:ext cx="26" cy="17"/>
            </a:xfrm>
            <a:custGeom>
              <a:avLst/>
              <a:gdLst>
                <a:gd name="T0" fmla="*/ 0 w 11"/>
                <a:gd name="T1" fmla="*/ 0 h 7"/>
                <a:gd name="T2" fmla="*/ 11 w 11"/>
                <a:gd name="T3" fmla="*/ 7 h 7"/>
                <a:gd name="T4" fmla="*/ 0 w 1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cubicBezTo>
                    <a:pt x="6" y="2"/>
                    <a:pt x="9" y="5"/>
                    <a:pt x="11" y="7"/>
                  </a:cubicBezTo>
                  <a:cubicBezTo>
                    <a:pt x="11" y="4"/>
                    <a:pt x="9" y="1"/>
                    <a:pt x="0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9" name="Freeform 34">
              <a:extLst>
                <a:ext uri="{FF2B5EF4-FFF2-40B4-BE49-F238E27FC236}">
                  <a16:creationId xmlns:a16="http://schemas.microsoft.com/office/drawing/2014/main" id="{5DD7A972-D318-445A-8582-C35D687DCC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" y="703"/>
              <a:ext cx="31" cy="40"/>
            </a:xfrm>
            <a:custGeom>
              <a:avLst/>
              <a:gdLst>
                <a:gd name="T0" fmla="*/ 7 w 13"/>
                <a:gd name="T1" fmla="*/ 0 h 17"/>
                <a:gd name="T2" fmla="*/ 0 w 13"/>
                <a:gd name="T3" fmla="*/ 10 h 17"/>
                <a:gd name="T4" fmla="*/ 13 w 13"/>
                <a:gd name="T5" fmla="*/ 17 h 17"/>
                <a:gd name="T6" fmla="*/ 7 w 13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7">
                  <a:moveTo>
                    <a:pt x="7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6" y="11"/>
                    <a:pt x="8" y="14"/>
                    <a:pt x="13" y="17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0" name="Freeform 35">
              <a:extLst>
                <a:ext uri="{FF2B5EF4-FFF2-40B4-BE49-F238E27FC236}">
                  <a16:creationId xmlns:a16="http://schemas.microsoft.com/office/drawing/2014/main" id="{86A6F357-C5AD-4150-A526-5899A0BCA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2" y="618"/>
              <a:ext cx="104" cy="56"/>
            </a:xfrm>
            <a:custGeom>
              <a:avLst/>
              <a:gdLst>
                <a:gd name="T0" fmla="*/ 19 w 44"/>
                <a:gd name="T1" fmla="*/ 22 h 24"/>
                <a:gd name="T2" fmla="*/ 19 w 44"/>
                <a:gd name="T3" fmla="*/ 8 h 24"/>
                <a:gd name="T4" fmla="*/ 19 w 44"/>
                <a:gd name="T5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4">
                  <a:moveTo>
                    <a:pt x="19" y="22"/>
                  </a:moveTo>
                  <a:cubicBezTo>
                    <a:pt x="20" y="17"/>
                    <a:pt x="44" y="0"/>
                    <a:pt x="19" y="8"/>
                  </a:cubicBezTo>
                  <a:cubicBezTo>
                    <a:pt x="18" y="13"/>
                    <a:pt x="0" y="24"/>
                    <a:pt x="19" y="22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1" name="Freeform 36">
              <a:extLst>
                <a:ext uri="{FF2B5EF4-FFF2-40B4-BE49-F238E27FC236}">
                  <a16:creationId xmlns:a16="http://schemas.microsoft.com/office/drawing/2014/main" id="{5A9E10BF-F739-4BF7-A3BD-970DA1F69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5" y="533"/>
              <a:ext cx="90" cy="85"/>
            </a:xfrm>
            <a:custGeom>
              <a:avLst/>
              <a:gdLst>
                <a:gd name="T0" fmla="*/ 16 w 38"/>
                <a:gd name="T1" fmla="*/ 32 h 36"/>
                <a:gd name="T2" fmla="*/ 7 w 38"/>
                <a:gd name="T3" fmla="*/ 33 h 36"/>
                <a:gd name="T4" fmla="*/ 16 w 38"/>
                <a:gd name="T5" fmla="*/ 32 h 36"/>
                <a:gd name="T6" fmla="*/ 16 w 38"/>
                <a:gd name="T7" fmla="*/ 32 h 36"/>
                <a:gd name="T8" fmla="*/ 38 w 38"/>
                <a:gd name="T9" fmla="*/ 15 h 36"/>
                <a:gd name="T10" fmla="*/ 8 w 38"/>
                <a:gd name="T11" fmla="*/ 15 h 36"/>
                <a:gd name="T12" fmla="*/ 16 w 38"/>
                <a:gd name="T13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6">
                  <a:moveTo>
                    <a:pt x="16" y="32"/>
                  </a:moveTo>
                  <a:cubicBezTo>
                    <a:pt x="13" y="32"/>
                    <a:pt x="10" y="32"/>
                    <a:pt x="7" y="33"/>
                  </a:cubicBezTo>
                  <a:cubicBezTo>
                    <a:pt x="12" y="33"/>
                    <a:pt x="14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32" y="29"/>
                    <a:pt x="38" y="36"/>
                    <a:pt x="38" y="15"/>
                  </a:cubicBezTo>
                  <a:cubicBezTo>
                    <a:pt x="16" y="0"/>
                    <a:pt x="27" y="30"/>
                    <a:pt x="8" y="15"/>
                  </a:cubicBezTo>
                  <a:cubicBezTo>
                    <a:pt x="0" y="20"/>
                    <a:pt x="23" y="28"/>
                    <a:pt x="16" y="32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2" name="Freeform 37">
              <a:extLst>
                <a:ext uri="{FF2B5EF4-FFF2-40B4-BE49-F238E27FC236}">
                  <a16:creationId xmlns:a16="http://schemas.microsoft.com/office/drawing/2014/main" id="{1B6C1EA3-91D5-4463-B059-FB52E39296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" y="2366"/>
              <a:ext cx="26" cy="36"/>
            </a:xfrm>
            <a:custGeom>
              <a:avLst/>
              <a:gdLst>
                <a:gd name="T0" fmla="*/ 11 w 11"/>
                <a:gd name="T1" fmla="*/ 1 h 15"/>
                <a:gd name="T2" fmla="*/ 7 w 11"/>
                <a:gd name="T3" fmla="*/ 0 h 15"/>
                <a:gd name="T4" fmla="*/ 0 w 11"/>
                <a:gd name="T5" fmla="*/ 15 h 15"/>
                <a:gd name="T6" fmla="*/ 11 w 11"/>
                <a:gd name="T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5">
                  <a:moveTo>
                    <a:pt x="11" y="1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2" y="3"/>
                    <a:pt x="1" y="7"/>
                    <a:pt x="0" y="15"/>
                  </a:cubicBezTo>
                  <a:lnTo>
                    <a:pt x="11" y="1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3" name="Freeform 38">
              <a:extLst>
                <a:ext uri="{FF2B5EF4-FFF2-40B4-BE49-F238E27FC236}">
                  <a16:creationId xmlns:a16="http://schemas.microsoft.com/office/drawing/2014/main" id="{B2CACC82-0261-4399-9344-881560EB7D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4" y="2901"/>
              <a:ext cx="45" cy="10"/>
            </a:xfrm>
            <a:custGeom>
              <a:avLst/>
              <a:gdLst>
                <a:gd name="T0" fmla="*/ 40 w 45"/>
                <a:gd name="T1" fmla="*/ 10 h 10"/>
                <a:gd name="T2" fmla="*/ 45 w 45"/>
                <a:gd name="T3" fmla="*/ 0 h 10"/>
                <a:gd name="T4" fmla="*/ 0 w 45"/>
                <a:gd name="T5" fmla="*/ 0 h 10"/>
                <a:gd name="T6" fmla="*/ 40 w 45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0">
                  <a:moveTo>
                    <a:pt x="40" y="1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40" y="1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4" name="Freeform 39">
              <a:extLst>
                <a:ext uri="{FF2B5EF4-FFF2-40B4-BE49-F238E27FC236}">
                  <a16:creationId xmlns:a16="http://schemas.microsoft.com/office/drawing/2014/main" id="{581357D3-0D18-4ECB-91DD-29E03C2B3A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3" y="3283"/>
              <a:ext cx="80" cy="47"/>
            </a:xfrm>
            <a:custGeom>
              <a:avLst/>
              <a:gdLst>
                <a:gd name="T0" fmla="*/ 17 w 34"/>
                <a:gd name="T1" fmla="*/ 20 h 20"/>
                <a:gd name="T2" fmla="*/ 34 w 34"/>
                <a:gd name="T3" fmla="*/ 0 h 20"/>
                <a:gd name="T4" fmla="*/ 17 w 34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20">
                  <a:moveTo>
                    <a:pt x="17" y="20"/>
                  </a:moveTo>
                  <a:cubicBezTo>
                    <a:pt x="24" y="15"/>
                    <a:pt x="28" y="5"/>
                    <a:pt x="34" y="0"/>
                  </a:cubicBezTo>
                  <a:cubicBezTo>
                    <a:pt x="24" y="15"/>
                    <a:pt x="0" y="7"/>
                    <a:pt x="17" y="2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</p:grpSp>
      <p:sp>
        <p:nvSpPr>
          <p:cNvPr id="2079" name="Text Placeholder 2078">
            <a:extLst>
              <a:ext uri="{FF2B5EF4-FFF2-40B4-BE49-F238E27FC236}">
                <a16:creationId xmlns:a16="http://schemas.microsoft.com/office/drawing/2014/main" id="{F1F208CA-9DC3-4DD5-B773-E3D0D8596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6228" y="5260424"/>
            <a:ext cx="6512385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73" name="Text Placeholder 2078">
            <a:extLst>
              <a:ext uri="{FF2B5EF4-FFF2-40B4-BE49-F238E27FC236}">
                <a16:creationId xmlns:a16="http://schemas.microsoft.com/office/drawing/2014/main" id="{E5ECC410-2706-40FE-B857-619CE0A892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6227" y="5767077"/>
            <a:ext cx="6512385" cy="290660"/>
          </a:xfrm>
        </p:spPr>
        <p:txBody>
          <a:bodyPr wrap="none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Presenter’s name goes here</a:t>
            </a:r>
          </a:p>
        </p:txBody>
      </p:sp>
      <p:grpSp>
        <p:nvGrpSpPr>
          <p:cNvPr id="80" name="Group 4">
            <a:extLst>
              <a:ext uri="{FF2B5EF4-FFF2-40B4-BE49-F238E27FC236}">
                <a16:creationId xmlns:a16="http://schemas.microsoft.com/office/drawing/2014/main" id="{1B568CDD-A995-4CE1-BC96-4A7C1005C1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2544553"/>
            <a:ext cx="729092" cy="770642"/>
            <a:chOff x="1841" y="2"/>
            <a:chExt cx="4000" cy="4318"/>
          </a:xfrm>
          <a:solidFill>
            <a:schemeClr val="bg1"/>
          </a:solidFill>
        </p:grpSpPr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59ED2881-2F39-4BAD-A794-16314B4479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77969BF3-D7B1-42CE-B7AE-F16F87C2E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C1473C7-61E2-9840-8E57-2C5AA5A548AB}"/>
              </a:ext>
            </a:extLst>
          </p:cNvPr>
          <p:cNvGrpSpPr/>
          <p:nvPr userDrawn="1"/>
        </p:nvGrpSpPr>
        <p:grpSpPr>
          <a:xfrm>
            <a:off x="10846461" y="14497"/>
            <a:ext cx="2704348" cy="1969412"/>
            <a:chOff x="6811349" y="1211547"/>
            <a:chExt cx="1910979" cy="3336075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0CF0461-881B-3E4D-A0E2-EFA781E3A893}"/>
                </a:ext>
              </a:extLst>
            </p:cNvPr>
            <p:cNvSpPr/>
            <p:nvPr/>
          </p:nvSpPr>
          <p:spPr>
            <a:xfrm>
              <a:off x="6948010" y="1798800"/>
              <a:ext cx="1774318" cy="274882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bring visual interest and impact there are images that bleed across the slide. To place in an image select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Fill &gt; Picture or texture </a:t>
              </a:r>
              <a:r>
                <a:rPr lang="en-US" sz="1200" b="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select your image. To crop the image at the right place use the offset sliders.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</a:p>
          </p:txBody>
        </p:sp>
        <p:sp>
          <p:nvSpPr>
            <p:cNvPr id="39" name="Triangle 38">
              <a:extLst>
                <a:ext uri="{FF2B5EF4-FFF2-40B4-BE49-F238E27FC236}">
                  <a16:creationId xmlns:a16="http://schemas.microsoft.com/office/drawing/2014/main" id="{E68BB9DD-8482-3F45-8274-5E2E0263B33F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21F31C5-CC68-E245-BED2-5BD5E669919E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BLEEDING IMAGES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D54CC4E-FBE2-144A-A0C6-75211EE963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860" y="2052726"/>
            <a:ext cx="2510950" cy="6519774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4A940BB1-CB3B-0B4E-9F39-148F4AA53549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186E643-F37F-A643-A1FB-0DBD19AB9050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3D122C8-69A2-9045-8A39-C0BBDCAE66BA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7867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drant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3728" y="2204886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Edit Master text styles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05897" y="2204886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Edit Master text styles</a:t>
            </a:r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9D3AB1E3-EA10-054C-8C2C-92684F9124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3728" y="4573671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Edit Master text styles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D38735E6-D260-E843-84B1-FC8D0AAA15E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05897" y="4573671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Edit Master text styl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9506CAA-FBC3-A846-A935-E67EB11A1A87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0C0CFB9-5250-D242-83F2-800BCA200003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69B7D62-DED3-E949-98FA-64401A534C39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2" name="Text Placeholder 2078">
            <a:extLst>
              <a:ext uri="{FF2B5EF4-FFF2-40B4-BE49-F238E27FC236}">
                <a16:creationId xmlns:a16="http://schemas.microsoft.com/office/drawing/2014/main" id="{A7E69B94-7D46-AC46-A7D3-15A9614B89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4E52C002-F52E-E640-A6FD-7CB803D9A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727" y="1832063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4" name="Text Placeholder 2078">
            <a:extLst>
              <a:ext uri="{FF2B5EF4-FFF2-40B4-BE49-F238E27FC236}">
                <a16:creationId xmlns:a16="http://schemas.microsoft.com/office/drawing/2014/main" id="{51644C1F-AB8A-8D48-B69F-07B294971C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03158" y="1832063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5" name="Text Placeholder 2078">
            <a:extLst>
              <a:ext uri="{FF2B5EF4-FFF2-40B4-BE49-F238E27FC236}">
                <a16:creationId xmlns:a16="http://schemas.microsoft.com/office/drawing/2014/main" id="{7DE89F7F-6C9F-3C40-A1CE-ED6CBB6067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727" y="4081079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9" name="Text Placeholder 2078">
            <a:extLst>
              <a:ext uri="{FF2B5EF4-FFF2-40B4-BE49-F238E27FC236}">
                <a16:creationId xmlns:a16="http://schemas.microsoft.com/office/drawing/2014/main" id="{AFCE5F62-8AE1-FD41-8676-DAF0A6415B3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03158" y="4081079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" name="Up Arrow 2">
            <a:extLst>
              <a:ext uri="{FF2B5EF4-FFF2-40B4-BE49-F238E27FC236}">
                <a16:creationId xmlns:a16="http://schemas.microsoft.com/office/drawing/2014/main" id="{1CA72085-6527-9F43-B8EE-4295758A8585}"/>
              </a:ext>
            </a:extLst>
          </p:cNvPr>
          <p:cNvSpPr/>
          <p:nvPr userDrawn="1"/>
        </p:nvSpPr>
        <p:spPr>
          <a:xfrm>
            <a:off x="127000" y="1663700"/>
            <a:ext cx="417827" cy="4947576"/>
          </a:xfrm>
          <a:prstGeom prst="upArrow">
            <a:avLst>
              <a:gd name="adj1" fmla="val 10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19" name="Up Arrow 18">
            <a:extLst>
              <a:ext uri="{FF2B5EF4-FFF2-40B4-BE49-F238E27FC236}">
                <a16:creationId xmlns:a16="http://schemas.microsoft.com/office/drawing/2014/main" id="{FD132814-4841-5342-8B42-323F9BC363A2}"/>
              </a:ext>
            </a:extLst>
          </p:cNvPr>
          <p:cNvSpPr/>
          <p:nvPr userDrawn="1"/>
        </p:nvSpPr>
        <p:spPr>
          <a:xfrm rot="5400000">
            <a:off x="4708057" y="1742965"/>
            <a:ext cx="417827" cy="9579944"/>
          </a:xfrm>
          <a:prstGeom prst="upArrow">
            <a:avLst>
              <a:gd name="adj1" fmla="val 10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5" name="Vertical Text Placeholder 4">
            <a:extLst>
              <a:ext uri="{FF2B5EF4-FFF2-40B4-BE49-F238E27FC236}">
                <a16:creationId xmlns:a16="http://schemas.microsoft.com/office/drawing/2014/main" id="{09839C99-AC38-A948-9319-142BA8ADF695}"/>
              </a:ext>
            </a:extLst>
          </p:cNvPr>
          <p:cNvSpPr>
            <a:spLocks noGrp="1"/>
          </p:cNvSpPr>
          <p:nvPr>
            <p:ph type="body" orient="vert" sz="quarter" idx="29" hasCustomPrompt="1"/>
          </p:nvPr>
        </p:nvSpPr>
        <p:spPr>
          <a:xfrm rot="10800000">
            <a:off x="126996" y="1832061"/>
            <a:ext cx="407299" cy="4491961"/>
          </a:xfrm>
        </p:spPr>
        <p:txBody>
          <a:bodyPr vert="eaVert" wrap="none" anchor="ctr"/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 AXIS</a:t>
            </a:r>
          </a:p>
        </p:txBody>
      </p:sp>
      <p:sp>
        <p:nvSpPr>
          <p:cNvPr id="20" name="Vertical Text Placeholder 4">
            <a:extLst>
              <a:ext uri="{FF2B5EF4-FFF2-40B4-BE49-F238E27FC236}">
                <a16:creationId xmlns:a16="http://schemas.microsoft.com/office/drawing/2014/main" id="{A1FA5855-7E00-CF48-923C-BA6B36C7F078}"/>
              </a:ext>
            </a:extLst>
          </p:cNvPr>
          <p:cNvSpPr>
            <a:spLocks noGrp="1"/>
          </p:cNvSpPr>
          <p:nvPr>
            <p:ph type="body" orient="vert" sz="quarter" idx="30" hasCustomPrompt="1"/>
          </p:nvPr>
        </p:nvSpPr>
        <p:spPr>
          <a:xfrm rot="16200000">
            <a:off x="2654099" y="4292221"/>
            <a:ext cx="407299" cy="4491961"/>
          </a:xfrm>
        </p:spPr>
        <p:txBody>
          <a:bodyPr vert="eaVert" wrap="none" anchor="ctr"/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 AXIS</a:t>
            </a:r>
          </a:p>
        </p:txBody>
      </p:sp>
    </p:spTree>
    <p:extLst>
      <p:ext uri="{BB962C8B-B14F-4D97-AF65-F5344CB8AC3E}">
        <p14:creationId xmlns:p14="http://schemas.microsoft.com/office/powerpoint/2010/main" val="23697049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2F1FE39-C0F2-944E-ADC2-E08B6382AD5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15913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b="1" i="0">
                <a:solidFill>
                  <a:schemeClr val="tx2"/>
                </a:solidFill>
                <a:latin typeface="Montserrat" pitchFamily="2" charset="77"/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5ADD69CE-CBFA-5444-8A70-7943C1B52A3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6229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3DF629A4-22F2-EA41-92F6-73FA66B5165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676570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C5090FF1-EF84-9B47-90F0-02229480193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036911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3A66E65D-65F1-8A40-BBC0-9F7DF2B5833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7396938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010EADF1-D8D0-154F-9B7E-17D789EB038B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396938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75B559C-3FE4-814B-B5AA-D677CF7850F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036911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3F2AA6B3-A7A7-124A-84B4-677FC0B3096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676570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A20EE17-45E2-8446-A592-E551029C90E3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AB54021-4905-9A42-B3D3-944CCC9828B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4AB86FE-6B2D-DD4A-AF2F-58E5728CD48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FBDB714-0ADB-D447-911B-2CCC613875BF}"/>
              </a:ext>
            </a:extLst>
          </p:cNvPr>
          <p:cNvGrpSpPr/>
          <p:nvPr userDrawn="1"/>
        </p:nvGrpSpPr>
        <p:grpSpPr>
          <a:xfrm>
            <a:off x="10518421" y="1678638"/>
            <a:ext cx="2778478" cy="1513196"/>
            <a:chOff x="6806300" y="1552689"/>
            <a:chExt cx="1916030" cy="122252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B135148-DE92-104E-A4F7-57F16F1E8F7F}"/>
                </a:ext>
              </a:extLst>
            </p:cNvPr>
            <p:cNvSpPr/>
            <p:nvPr/>
          </p:nvSpPr>
          <p:spPr>
            <a:xfrm>
              <a:off x="6948005" y="1911773"/>
              <a:ext cx="1774321" cy="86344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You can place images,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 text or icons into the circle placeholders. You may need to lower the text size if your wording does not fit</a:t>
              </a:r>
              <a:r>
                <a:rPr lang="en-US" sz="750" i="1" baseline="0" dirty="0">
                  <a:solidFill>
                    <a:schemeClr val="tx1">
                      <a:lumMod val="50000"/>
                    </a:schemeClr>
                  </a:solidFill>
                </a:rPr>
                <a:t>.</a:t>
              </a:r>
              <a:endParaRPr lang="en-US" sz="75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15C8D95E-DE93-E54E-B300-BA8EBDC0A93F}"/>
                </a:ext>
              </a:extLst>
            </p:cNvPr>
            <p:cNvSpPr/>
            <p:nvPr/>
          </p:nvSpPr>
          <p:spPr>
            <a:xfrm rot="16200000" flipH="1">
              <a:off x="6709054" y="2015828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0F95C98-2AC6-0846-ADFD-CC1B8FCEE438}"/>
                </a:ext>
              </a:extLst>
            </p:cNvPr>
            <p:cNvSpPr/>
            <p:nvPr/>
          </p:nvSpPr>
          <p:spPr>
            <a:xfrm>
              <a:off x="6948007" y="1552689"/>
              <a:ext cx="1774323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INFOGRAPHIC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4A98DA3-09EB-0243-AE32-27ADF9A4E719}"/>
              </a:ext>
            </a:extLst>
          </p:cNvPr>
          <p:cNvGrpSpPr/>
          <p:nvPr userDrawn="1"/>
        </p:nvGrpSpPr>
        <p:grpSpPr>
          <a:xfrm>
            <a:off x="-3771201" y="1028700"/>
            <a:ext cx="3318513" cy="1922297"/>
            <a:chOff x="6948005" y="1552689"/>
            <a:chExt cx="1916028" cy="227788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5E5853D-C971-924F-BC5D-FC3C466DDE29}"/>
                </a:ext>
              </a:extLst>
            </p:cNvPr>
            <p:cNvSpPr/>
            <p:nvPr/>
          </p:nvSpPr>
          <p:spPr>
            <a:xfrm>
              <a:off x="6948005" y="1907665"/>
              <a:ext cx="1774322" cy="1922908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Copy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 and paste (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Ctrl + C 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&amp;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Ctrl + V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) icons into the circle placeholders from slide 9 of the Slide Library. Once you’ve pasted in the icon and it is still selected, select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Shape Fill 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in your toolbar &gt;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No Fill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. To see what you should end up with, refer to slide 17 of the Slide Library.</a:t>
              </a:r>
              <a:endParaRPr lang="en-US" sz="12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3" name="Triangle 32">
              <a:extLst>
                <a:ext uri="{FF2B5EF4-FFF2-40B4-BE49-F238E27FC236}">
                  <a16:creationId xmlns:a16="http://schemas.microsoft.com/office/drawing/2014/main" id="{F461057A-2857-544B-BF9F-7DE186EAE23A}"/>
                </a:ext>
              </a:extLst>
            </p:cNvPr>
            <p:cNvSpPr/>
            <p:nvPr/>
          </p:nvSpPr>
          <p:spPr>
            <a:xfrm rot="5400000">
              <a:off x="8625082" y="2011812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1D4D53-E848-9447-98D6-7C2DDBA9ED40}"/>
                </a:ext>
              </a:extLst>
            </p:cNvPr>
            <p:cNvSpPr/>
            <p:nvPr/>
          </p:nvSpPr>
          <p:spPr>
            <a:xfrm>
              <a:off x="6955408" y="1552689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PLACING ICONS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3A4192E-73C2-2442-AF82-93262E03CB50}"/>
              </a:ext>
            </a:extLst>
          </p:cNvPr>
          <p:cNvGrpSpPr/>
          <p:nvPr userDrawn="1"/>
        </p:nvGrpSpPr>
        <p:grpSpPr>
          <a:xfrm>
            <a:off x="-3771201" y="3284346"/>
            <a:ext cx="3292605" cy="1107403"/>
            <a:chOff x="6940574" y="1572373"/>
            <a:chExt cx="1908625" cy="927729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88B84B8-5C33-B548-809F-7AB0DD7A17C4}"/>
                </a:ext>
              </a:extLst>
            </p:cNvPr>
            <p:cNvSpPr/>
            <p:nvPr/>
          </p:nvSpPr>
          <p:spPr>
            <a:xfrm>
              <a:off x="6940574" y="1914175"/>
              <a:ext cx="1774322" cy="585927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Avoid scaling icons to different sizes, this will ensure consistency across your presentation.</a:t>
              </a:r>
            </a:p>
          </p:txBody>
        </p:sp>
        <p:sp>
          <p:nvSpPr>
            <p:cNvPr id="37" name="Triangle 36">
              <a:extLst>
                <a:ext uri="{FF2B5EF4-FFF2-40B4-BE49-F238E27FC236}">
                  <a16:creationId xmlns:a16="http://schemas.microsoft.com/office/drawing/2014/main" id="{579D3FCB-6BF9-E24C-9AFD-2740B30F3D2B}"/>
                </a:ext>
              </a:extLst>
            </p:cNvPr>
            <p:cNvSpPr/>
            <p:nvPr/>
          </p:nvSpPr>
          <p:spPr>
            <a:xfrm rot="5400000">
              <a:off x="8610248" y="2049165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AF06C76-97B6-7645-B21D-7755BB765882}"/>
                </a:ext>
              </a:extLst>
            </p:cNvPr>
            <p:cNvSpPr/>
            <p:nvPr/>
          </p:nvSpPr>
          <p:spPr>
            <a:xfrm>
              <a:off x="6940574" y="1572373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ICON SIZING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2AEED0C2-9CC6-5D4B-9717-1C681D3BE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Text Placeholder 2078">
            <a:extLst>
              <a:ext uri="{FF2B5EF4-FFF2-40B4-BE49-F238E27FC236}">
                <a16:creationId xmlns:a16="http://schemas.microsoft.com/office/drawing/2014/main" id="{93D84F06-2FBC-D346-A435-1073A7BF93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4" name="Text Placeholder 2078">
            <a:extLst>
              <a:ext uri="{FF2B5EF4-FFF2-40B4-BE49-F238E27FC236}">
                <a16:creationId xmlns:a16="http://schemas.microsoft.com/office/drawing/2014/main" id="{3558769A-A1E1-2B4D-8C79-12A8F6302F2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6228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5" name="Text Placeholder 2078">
            <a:extLst>
              <a:ext uri="{FF2B5EF4-FFF2-40B4-BE49-F238E27FC236}">
                <a16:creationId xmlns:a16="http://schemas.microsoft.com/office/drawing/2014/main" id="{45755AA4-ACF2-D446-9F35-91AA2C9B8B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76570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6" name="Text Placeholder 2078">
            <a:extLst>
              <a:ext uri="{FF2B5EF4-FFF2-40B4-BE49-F238E27FC236}">
                <a16:creationId xmlns:a16="http://schemas.microsoft.com/office/drawing/2014/main" id="{E7E3D93F-55A1-B64A-A591-0C258302151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42341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7" name="Text Placeholder 2078">
            <a:extLst>
              <a:ext uri="{FF2B5EF4-FFF2-40B4-BE49-F238E27FC236}">
                <a16:creationId xmlns:a16="http://schemas.microsoft.com/office/drawing/2014/main" id="{1BB3028E-396B-CB41-98C5-57A4C7904CA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96938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48" name="Group 4">
            <a:extLst>
              <a:ext uri="{FF2B5EF4-FFF2-40B4-BE49-F238E27FC236}">
                <a16:creationId xmlns:a16="http://schemas.microsoft.com/office/drawing/2014/main" id="{DE9FE9F8-47B2-5A45-B2C5-83F01DA3667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96343" y="-655793"/>
            <a:ext cx="1041395" cy="1021289"/>
            <a:chOff x="2737" y="1746"/>
            <a:chExt cx="1266" cy="1268"/>
          </a:xfrm>
        </p:grpSpPr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A8C3DB40-E9AB-8642-85BC-886592AA72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5126A3EA-26C9-6748-960C-604E2B3C57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861516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2F1FE39-C0F2-944E-ADC2-E08B6382AD50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31591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E310808-1FB9-204B-AC72-181E1E990AF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497335C-77E7-A946-8AF2-8EB91705A683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946F438-951E-954D-8F92-DA7781AEA12B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53DA8D1E-4A04-854A-B7E8-D1D778667F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Text Placeholder 2078">
            <a:extLst>
              <a:ext uri="{FF2B5EF4-FFF2-40B4-BE49-F238E27FC236}">
                <a16:creationId xmlns:a16="http://schemas.microsoft.com/office/drawing/2014/main" id="{8BBC4340-1C49-2A4F-8887-D59256CABB3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4" name="Text Placeholder 2078">
            <a:extLst>
              <a:ext uri="{FF2B5EF4-FFF2-40B4-BE49-F238E27FC236}">
                <a16:creationId xmlns:a16="http://schemas.microsoft.com/office/drawing/2014/main" id="{9B74630D-75AB-EE40-9F3B-C8C84F46C3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5913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8" name="Freeform 10">
            <a:extLst>
              <a:ext uri="{FF2B5EF4-FFF2-40B4-BE49-F238E27FC236}">
                <a16:creationId xmlns:a16="http://schemas.microsoft.com/office/drawing/2014/main" id="{D11DC51F-5733-A340-972E-6C9E17A6E79C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325110" y="2521037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6BADFFC1-F760-9C42-BD71-A8A9494E7E00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CD842A2-D1EC-FD43-AD54-75266B068C8C}"/>
              </a:ext>
            </a:extLst>
          </p:cNvPr>
          <p:cNvGrpSpPr/>
          <p:nvPr userDrawn="1"/>
        </p:nvGrpSpPr>
        <p:grpSpPr>
          <a:xfrm>
            <a:off x="10518421" y="1678638"/>
            <a:ext cx="2778478" cy="1513196"/>
            <a:chOff x="6806300" y="1552689"/>
            <a:chExt cx="1916030" cy="122252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B7E7BCC-F9F4-B94E-B888-CE673D5B04D8}"/>
                </a:ext>
              </a:extLst>
            </p:cNvPr>
            <p:cNvSpPr/>
            <p:nvPr/>
          </p:nvSpPr>
          <p:spPr>
            <a:xfrm>
              <a:off x="6948005" y="1911773"/>
              <a:ext cx="1774321" cy="86344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You can place images,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 text or icons into the circle placeholders. You may need to lower the text size if your wording does not fit</a:t>
              </a:r>
              <a:r>
                <a:rPr lang="en-US" sz="750" i="1" baseline="0" dirty="0">
                  <a:solidFill>
                    <a:schemeClr val="tx1">
                      <a:lumMod val="50000"/>
                    </a:schemeClr>
                  </a:solidFill>
                </a:rPr>
                <a:t>.</a:t>
              </a:r>
              <a:endParaRPr lang="en-US" sz="75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3" name="Triangle 52">
              <a:extLst>
                <a:ext uri="{FF2B5EF4-FFF2-40B4-BE49-F238E27FC236}">
                  <a16:creationId xmlns:a16="http://schemas.microsoft.com/office/drawing/2014/main" id="{850AD74B-A550-9B42-A004-3C9880321844}"/>
                </a:ext>
              </a:extLst>
            </p:cNvPr>
            <p:cNvSpPr/>
            <p:nvPr/>
          </p:nvSpPr>
          <p:spPr>
            <a:xfrm rot="16200000" flipH="1">
              <a:off x="6709054" y="2015828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D1590190-2673-0F4B-B4A4-EA2AD1292231}"/>
                </a:ext>
              </a:extLst>
            </p:cNvPr>
            <p:cNvSpPr/>
            <p:nvPr/>
          </p:nvSpPr>
          <p:spPr>
            <a:xfrm>
              <a:off x="6948007" y="1552689"/>
              <a:ext cx="1774323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INFOGRAPHIC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8A27F4A-389F-6246-BC72-EF08B3D5BD55}"/>
              </a:ext>
            </a:extLst>
          </p:cNvPr>
          <p:cNvGrpSpPr/>
          <p:nvPr userDrawn="1"/>
        </p:nvGrpSpPr>
        <p:grpSpPr>
          <a:xfrm>
            <a:off x="-3771201" y="1028700"/>
            <a:ext cx="3318513" cy="1922297"/>
            <a:chOff x="6948005" y="1552689"/>
            <a:chExt cx="1916028" cy="2277884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C288C02D-42DC-964B-846C-2FD2F5296434}"/>
                </a:ext>
              </a:extLst>
            </p:cNvPr>
            <p:cNvSpPr/>
            <p:nvPr/>
          </p:nvSpPr>
          <p:spPr>
            <a:xfrm>
              <a:off x="6948005" y="1907665"/>
              <a:ext cx="1774322" cy="1922908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Copy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 and paste (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Ctrl + C 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&amp;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Ctrl + V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) icons into the circle placeholders from slide 9 of the Slide Library. Once you’ve pasted in the icon and it is still selected, select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Shape Fill 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in your toolbar &gt;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No Fill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. To see what you should end up with, refer to slide 17 of the Slide Library.</a:t>
              </a:r>
              <a:endParaRPr lang="en-US" sz="12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7" name="Triangle 56">
              <a:extLst>
                <a:ext uri="{FF2B5EF4-FFF2-40B4-BE49-F238E27FC236}">
                  <a16:creationId xmlns:a16="http://schemas.microsoft.com/office/drawing/2014/main" id="{9C935036-70E8-0F47-9632-1384D524D622}"/>
                </a:ext>
              </a:extLst>
            </p:cNvPr>
            <p:cNvSpPr/>
            <p:nvPr/>
          </p:nvSpPr>
          <p:spPr>
            <a:xfrm rot="5400000">
              <a:off x="8625082" y="2011812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265C5E7-B380-024A-AE39-C182B8092450}"/>
                </a:ext>
              </a:extLst>
            </p:cNvPr>
            <p:cNvSpPr/>
            <p:nvPr/>
          </p:nvSpPr>
          <p:spPr>
            <a:xfrm>
              <a:off x="6955408" y="1552689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PLACING ICONS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B236C99-5878-0E4B-9BBC-3B6EA2A38A5F}"/>
              </a:ext>
            </a:extLst>
          </p:cNvPr>
          <p:cNvGrpSpPr/>
          <p:nvPr userDrawn="1"/>
        </p:nvGrpSpPr>
        <p:grpSpPr>
          <a:xfrm>
            <a:off x="-3771201" y="3284346"/>
            <a:ext cx="3292605" cy="1107403"/>
            <a:chOff x="6940574" y="1572373"/>
            <a:chExt cx="1908625" cy="927729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5567DF5-9D12-AC4F-9DBF-8768BAA32329}"/>
                </a:ext>
              </a:extLst>
            </p:cNvPr>
            <p:cNvSpPr/>
            <p:nvPr/>
          </p:nvSpPr>
          <p:spPr>
            <a:xfrm>
              <a:off x="6940574" y="1914175"/>
              <a:ext cx="1774322" cy="585927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Avoid scaling icons to different sizes, this will ensure consistency across your presentation.</a:t>
              </a:r>
            </a:p>
          </p:txBody>
        </p:sp>
        <p:sp>
          <p:nvSpPr>
            <p:cNvPr id="61" name="Triangle 60">
              <a:extLst>
                <a:ext uri="{FF2B5EF4-FFF2-40B4-BE49-F238E27FC236}">
                  <a16:creationId xmlns:a16="http://schemas.microsoft.com/office/drawing/2014/main" id="{7987E02A-E0A8-9E48-8A01-F91F6DBD7BA5}"/>
                </a:ext>
              </a:extLst>
            </p:cNvPr>
            <p:cNvSpPr/>
            <p:nvPr/>
          </p:nvSpPr>
          <p:spPr>
            <a:xfrm rot="5400000">
              <a:off x="8610248" y="2049165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6137CC3-DC71-7240-9167-FAF9CA7FA91D}"/>
                </a:ext>
              </a:extLst>
            </p:cNvPr>
            <p:cNvSpPr/>
            <p:nvPr/>
          </p:nvSpPr>
          <p:spPr>
            <a:xfrm>
              <a:off x="6940574" y="1572373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ICON SIZING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2953F83E-0985-7940-B2EF-FCFAB31AC7AD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190595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CDA7DA54-53AC-1F4F-AA1F-A8BDA51573E5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49599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B421FAFC-B8E1-2049-A671-A2ED042AE2A8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8603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17404F0B-E914-7E4B-9170-69EE6138A51C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667607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F7CCAAE7-C9BE-4146-8A26-E6F543DE436A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826611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1" name="Content Placeholder 10">
            <a:extLst>
              <a:ext uri="{FF2B5EF4-FFF2-40B4-BE49-F238E27FC236}">
                <a16:creationId xmlns:a16="http://schemas.microsoft.com/office/drawing/2014/main" id="{6F1B0F70-DE4E-DE42-8E2A-E67F87C14E09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16229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50" name="Text Placeholder 2078">
            <a:extLst>
              <a:ext uri="{FF2B5EF4-FFF2-40B4-BE49-F238E27FC236}">
                <a16:creationId xmlns:a16="http://schemas.microsoft.com/office/drawing/2014/main" id="{30D4D6B8-8DC2-8446-B8D2-C95031524F6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90563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3" name="Content Placeholder 10">
            <a:extLst>
              <a:ext uri="{FF2B5EF4-FFF2-40B4-BE49-F238E27FC236}">
                <a16:creationId xmlns:a16="http://schemas.microsoft.com/office/drawing/2014/main" id="{49A7852B-03B6-CD45-90E2-7BD99E5D3B41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90595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64" name="Text Placeholder 2078">
            <a:extLst>
              <a:ext uri="{FF2B5EF4-FFF2-40B4-BE49-F238E27FC236}">
                <a16:creationId xmlns:a16="http://schemas.microsoft.com/office/drawing/2014/main" id="{66C69699-041A-1A40-B604-F4AC0413BA9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495045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5" name="Content Placeholder 10">
            <a:extLst>
              <a:ext uri="{FF2B5EF4-FFF2-40B4-BE49-F238E27FC236}">
                <a16:creationId xmlns:a16="http://schemas.microsoft.com/office/drawing/2014/main" id="{D1E1E153-C2A7-9545-B24E-0032D99AC7AC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3495361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66" name="Text Placeholder 2078">
            <a:extLst>
              <a:ext uri="{FF2B5EF4-FFF2-40B4-BE49-F238E27FC236}">
                <a16:creationId xmlns:a16="http://schemas.microsoft.com/office/drawing/2014/main" id="{E990D4A1-4AC4-D049-93BD-B47FC80445E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08644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7" name="Content Placeholder 10">
            <a:extLst>
              <a:ext uri="{FF2B5EF4-FFF2-40B4-BE49-F238E27FC236}">
                <a16:creationId xmlns:a16="http://schemas.microsoft.com/office/drawing/2014/main" id="{6A8152EF-39E2-6B49-BE1F-BD6DBF2EBE75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508676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68" name="Text Placeholder 2078">
            <a:extLst>
              <a:ext uri="{FF2B5EF4-FFF2-40B4-BE49-F238E27FC236}">
                <a16:creationId xmlns:a16="http://schemas.microsoft.com/office/drawing/2014/main" id="{A4855483-6B4B-CD4B-AE54-61EC0A52F41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70436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9" name="Content Placeholder 10">
            <a:extLst>
              <a:ext uri="{FF2B5EF4-FFF2-40B4-BE49-F238E27FC236}">
                <a16:creationId xmlns:a16="http://schemas.microsoft.com/office/drawing/2014/main" id="{1F0D77A5-89E9-4642-9976-6E61DDF8B167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670468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72" name="Text Placeholder 2078">
            <a:extLst>
              <a:ext uri="{FF2B5EF4-FFF2-40B4-BE49-F238E27FC236}">
                <a16:creationId xmlns:a16="http://schemas.microsoft.com/office/drawing/2014/main" id="{85D8657D-8DD1-CB41-A38A-4124EAF727E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27148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73" name="Content Placeholder 10">
            <a:extLst>
              <a:ext uri="{FF2B5EF4-FFF2-40B4-BE49-F238E27FC236}">
                <a16:creationId xmlns:a16="http://schemas.microsoft.com/office/drawing/2014/main" id="{F4620F89-C7A7-E044-A243-65EABF42065B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827180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</p:spTree>
    <p:extLst>
      <p:ext uri="{BB962C8B-B14F-4D97-AF65-F5344CB8AC3E}">
        <p14:creationId xmlns:p14="http://schemas.microsoft.com/office/powerpoint/2010/main" val="12219841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Numbered list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06775" y="1664815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/>
            </a:lvl3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A8D35E53-8730-2840-9093-D21C0FD4D7D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406775" y="3897343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D1F906FE-8A5B-C745-98DC-DD3BC7AD65E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406140" y="3153167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F0FA536A-9BCB-5243-9581-63768F29E1C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406140" y="2408991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94FE56D-032E-354E-8CEE-FAD258BB47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B41A0F9-EE06-5B40-9674-00605E7B98FA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FAB8945-4A0D-9F40-84F9-3657DF0E6342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E3BB5E3-98C4-BA40-921A-0F5BAB0354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A273AC8-CAE4-5B46-B00B-45443A855A6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37062" y="1701141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AC9F5D1-D668-2B46-9B0E-67CE1321A31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3406775" y="4641519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9A7F05B-F4B9-694A-BC3D-CB76E461F9C7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406775" y="5385696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E8CC56C2-1B3A-4A44-873B-298E419D08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3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6" name="Text Placeholder 2078">
            <a:extLst>
              <a:ext uri="{FF2B5EF4-FFF2-40B4-BE49-F238E27FC236}">
                <a16:creationId xmlns:a16="http://schemas.microsoft.com/office/drawing/2014/main" id="{7D2E40C3-E27E-5A41-8747-DADA3C2D45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7338" y="1679779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37" name="Text Placeholder 2078">
            <a:extLst>
              <a:ext uri="{FF2B5EF4-FFF2-40B4-BE49-F238E27FC236}">
                <a16:creationId xmlns:a16="http://schemas.microsoft.com/office/drawing/2014/main" id="{2EAFBFAD-7981-144F-9287-1EDE74B7F77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07338" y="2429792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38" name="Text Placeholder 2078">
            <a:extLst>
              <a:ext uri="{FF2B5EF4-FFF2-40B4-BE49-F238E27FC236}">
                <a16:creationId xmlns:a16="http://schemas.microsoft.com/office/drawing/2014/main" id="{FA56055B-7E4C-0B47-8086-EF94AFBB106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07338" y="3148983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64D52B9C-667D-1544-A05E-BD648474A19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07338" y="3909271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40" name="Text Placeholder 2078">
            <a:extLst>
              <a:ext uri="{FF2B5EF4-FFF2-40B4-BE49-F238E27FC236}">
                <a16:creationId xmlns:a16="http://schemas.microsoft.com/office/drawing/2014/main" id="{B4019D6B-AF09-344B-9025-4356FB7CD5E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7338" y="4638736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41" name="Text Placeholder 2078">
            <a:extLst>
              <a:ext uri="{FF2B5EF4-FFF2-40B4-BE49-F238E27FC236}">
                <a16:creationId xmlns:a16="http://schemas.microsoft.com/office/drawing/2014/main" id="{627422E6-5823-7341-AB7E-8B4B6FE1810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07338" y="5368201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42" name="Freeform 10">
            <a:extLst>
              <a:ext uri="{FF2B5EF4-FFF2-40B4-BE49-F238E27FC236}">
                <a16:creationId xmlns:a16="http://schemas.microsoft.com/office/drawing/2014/main" id="{A5594841-0967-6D49-8FBD-E6AD5723A7EA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219125" y="2512575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56EB975E-174A-5047-AB80-3400C8E75F5C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7E79D2B-C60F-6E43-B4B9-DDDA91E7EA63}"/>
              </a:ext>
            </a:extLst>
          </p:cNvPr>
          <p:cNvGrpSpPr/>
          <p:nvPr userDrawn="1"/>
        </p:nvGrpSpPr>
        <p:grpSpPr>
          <a:xfrm>
            <a:off x="11248421" y="2297155"/>
            <a:ext cx="2632679" cy="1816730"/>
            <a:chOff x="6810006" y="1666757"/>
            <a:chExt cx="1912322" cy="1198368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88B07FB-E167-244C-A363-71CC70E0D31D}"/>
                </a:ext>
              </a:extLst>
            </p:cNvPr>
            <p:cNvSpPr/>
            <p:nvPr/>
          </p:nvSpPr>
          <p:spPr>
            <a:xfrm>
              <a:off x="6948010" y="1916533"/>
              <a:ext cx="1774318" cy="94859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If your list has less than six items remove the excess items by clicking on them and deleting. If your list has more than 6 items duplicate the slide and continue the list on the next slide.</a:t>
              </a:r>
            </a:p>
          </p:txBody>
        </p:sp>
        <p:sp>
          <p:nvSpPr>
            <p:cNvPr id="50" name="Triangle 49">
              <a:extLst>
                <a:ext uri="{FF2B5EF4-FFF2-40B4-BE49-F238E27FC236}">
                  <a16:creationId xmlns:a16="http://schemas.microsoft.com/office/drawing/2014/main" id="{E7B0A58A-0399-5440-81F0-EBB38BD7FDF7}"/>
                </a:ext>
              </a:extLst>
            </p:cNvPr>
            <p:cNvSpPr/>
            <p:nvPr/>
          </p:nvSpPr>
          <p:spPr>
            <a:xfrm rot="16200000" flipH="1">
              <a:off x="6712760" y="2015828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B94618C-3410-904A-B421-1D39E81D08FB}"/>
                </a:ext>
              </a:extLst>
            </p:cNvPr>
            <p:cNvSpPr/>
            <p:nvPr/>
          </p:nvSpPr>
          <p:spPr>
            <a:xfrm>
              <a:off x="6955408" y="1666757"/>
              <a:ext cx="1766920" cy="251824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LIST ITEMS</a:t>
              </a:r>
            </a:p>
          </p:txBody>
        </p:sp>
      </p:grpSp>
      <p:sp>
        <p:nvSpPr>
          <p:cNvPr id="32" name="Content Placeholder 13">
            <a:extLst>
              <a:ext uri="{FF2B5EF4-FFF2-40B4-BE49-F238E27FC236}">
                <a16:creationId xmlns:a16="http://schemas.microsoft.com/office/drawing/2014/main" id="{7102FF32-FD18-1041-9619-B16F5287DE7C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337062" y="5426780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4" name="Content Placeholder 13">
            <a:extLst>
              <a:ext uri="{FF2B5EF4-FFF2-40B4-BE49-F238E27FC236}">
                <a16:creationId xmlns:a16="http://schemas.microsoft.com/office/drawing/2014/main" id="{6361216E-7F34-DD4F-93ED-B93A45C54DC7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37062" y="4681653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5" name="Content Placeholder 13">
            <a:extLst>
              <a:ext uri="{FF2B5EF4-FFF2-40B4-BE49-F238E27FC236}">
                <a16:creationId xmlns:a16="http://schemas.microsoft.com/office/drawing/2014/main" id="{6DF825F2-14D1-9145-B917-D33E67E9554D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337062" y="3936525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6" name="Content Placeholder 13">
            <a:extLst>
              <a:ext uri="{FF2B5EF4-FFF2-40B4-BE49-F238E27FC236}">
                <a16:creationId xmlns:a16="http://schemas.microsoft.com/office/drawing/2014/main" id="{16EFB2F5-56A2-D140-90A2-E1B78636312B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7062" y="3191397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7" name="Content Placeholder 13">
            <a:extLst>
              <a:ext uri="{FF2B5EF4-FFF2-40B4-BE49-F238E27FC236}">
                <a16:creationId xmlns:a16="http://schemas.microsoft.com/office/drawing/2014/main" id="{17E76658-AD45-964E-BAFD-A5666259F6EA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337062" y="2446269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4036977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Proces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75D66A8D-93D6-AF47-9FFE-36DBA25EB5EC}"/>
              </a:ext>
            </a:extLst>
          </p:cNvPr>
          <p:cNvSpPr/>
          <p:nvPr userDrawn="1"/>
        </p:nvSpPr>
        <p:spPr>
          <a:xfrm>
            <a:off x="0" y="-1"/>
            <a:ext cx="9906000" cy="13763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rocess – 4 column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C31DF8B-B157-C344-BE7D-06790EF6222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5E0D1CE9-2CB2-D84C-A644-7CCDC5D6DA7A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2176169-4375-F844-A05A-EEB993BB98B6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F3BC40B1-2C38-3F46-9D1D-F2649BA3AD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88F5D05B-08C5-5342-AB74-1E4776CD8EC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23292B4-B5C6-A84C-B01D-7673102C40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FBF0BE8-4E96-714D-8E6F-CFCDF4780F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A43CF74-4B37-9647-B875-50AE18F9D2F0}"/>
              </a:ext>
            </a:extLst>
          </p:cNvPr>
          <p:cNvSpPr txBox="1">
            <a:spLocks/>
          </p:cNvSpPr>
          <p:nvPr userDrawn="1"/>
        </p:nvSpPr>
        <p:spPr>
          <a:xfrm>
            <a:off x="2515949" y="1443848"/>
            <a:ext cx="2527496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AA34491-C980-8A43-8A88-0610183CA0F5}"/>
              </a:ext>
            </a:extLst>
          </p:cNvPr>
          <p:cNvSpPr txBox="1">
            <a:spLocks/>
          </p:cNvSpPr>
          <p:nvPr userDrawn="1"/>
        </p:nvSpPr>
        <p:spPr>
          <a:xfrm>
            <a:off x="4696000" y="1443848"/>
            <a:ext cx="2531877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9CB9392-8663-D04B-9F3A-96317563DBC3}"/>
              </a:ext>
            </a:extLst>
          </p:cNvPr>
          <p:cNvSpPr txBox="1">
            <a:spLocks/>
          </p:cNvSpPr>
          <p:nvPr userDrawn="1"/>
        </p:nvSpPr>
        <p:spPr>
          <a:xfrm>
            <a:off x="6880432" y="1443848"/>
            <a:ext cx="2547166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5FCFB3DE-8C63-BF47-BBAE-C81AFCF5908E}"/>
              </a:ext>
            </a:extLst>
          </p:cNvPr>
          <p:cNvSpPr txBox="1">
            <a:spLocks/>
          </p:cNvSpPr>
          <p:nvPr userDrawn="1"/>
        </p:nvSpPr>
        <p:spPr>
          <a:xfrm>
            <a:off x="2515949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86FFD955-0F26-184F-874D-8A062D4F7038}"/>
              </a:ext>
            </a:extLst>
          </p:cNvPr>
          <p:cNvSpPr txBox="1">
            <a:spLocks/>
          </p:cNvSpPr>
          <p:nvPr userDrawn="1"/>
        </p:nvSpPr>
        <p:spPr>
          <a:xfrm>
            <a:off x="4696000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38" name="Content Placeholder 3">
            <a:extLst>
              <a:ext uri="{FF2B5EF4-FFF2-40B4-BE49-F238E27FC236}">
                <a16:creationId xmlns:a16="http://schemas.microsoft.com/office/drawing/2014/main" id="{79B8D577-A2C5-2E4D-BDC4-F62FB4FC82D3}"/>
              </a:ext>
            </a:extLst>
          </p:cNvPr>
          <p:cNvSpPr txBox="1">
            <a:spLocks/>
          </p:cNvSpPr>
          <p:nvPr userDrawn="1"/>
        </p:nvSpPr>
        <p:spPr>
          <a:xfrm>
            <a:off x="6880432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CD64D8B-D57C-1947-B2FB-09365841F90A}"/>
              </a:ext>
            </a:extLst>
          </p:cNvPr>
          <p:cNvSpPr txBox="1">
            <a:spLocks/>
          </p:cNvSpPr>
          <p:nvPr userDrawn="1"/>
        </p:nvSpPr>
        <p:spPr>
          <a:xfrm>
            <a:off x="316228" y="1443848"/>
            <a:ext cx="2547166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40" name="Content Placeholder 3">
            <a:extLst>
              <a:ext uri="{FF2B5EF4-FFF2-40B4-BE49-F238E27FC236}">
                <a16:creationId xmlns:a16="http://schemas.microsoft.com/office/drawing/2014/main" id="{F61DC305-594D-A443-9BFE-B851A518196B}"/>
              </a:ext>
            </a:extLst>
          </p:cNvPr>
          <p:cNvSpPr txBox="1">
            <a:spLocks/>
          </p:cNvSpPr>
          <p:nvPr userDrawn="1"/>
        </p:nvSpPr>
        <p:spPr>
          <a:xfrm>
            <a:off x="316228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</p:spTree>
    <p:extLst>
      <p:ext uri="{BB962C8B-B14F-4D97-AF65-F5344CB8AC3E}">
        <p14:creationId xmlns:p14="http://schemas.microsoft.com/office/powerpoint/2010/main" val="21517377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ly Pull Out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4">
            <a:extLst>
              <a:ext uri="{FF2B5EF4-FFF2-40B4-BE49-F238E27FC236}">
                <a16:creationId xmlns:a16="http://schemas.microsoft.com/office/drawing/2014/main" id="{19828514-F9AB-8047-AC2B-D75566075A2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659503" y="1897502"/>
            <a:ext cx="683173" cy="669983"/>
            <a:chOff x="2737" y="1746"/>
            <a:chExt cx="1266" cy="1268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CFF3164-0010-E34C-9BC0-6C68D62F44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9658C762-81A2-4242-91E1-57B60A4072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B9EC0E2A-5102-FA40-B686-383A1B48885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487473" y="3133342"/>
            <a:ext cx="2920218" cy="2676592"/>
          </a:xfrm>
          <a:prstGeom prst="wedgeRectCallout">
            <a:avLst/>
          </a:prstGeom>
          <a:solidFill>
            <a:schemeClr val="bg1"/>
          </a:solidFill>
        </p:spPr>
        <p:txBody>
          <a:bodyPr lIns="360000" tIns="360000" rIns="360000" bIns="360000" anchor="ctr" anchorCtr="1">
            <a:noAutofit/>
          </a:bodyPr>
          <a:lstStyle>
            <a:lvl1pPr algn="ctr">
              <a:defRPr sz="2000" b="1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a </a:t>
            </a:r>
            <a:br>
              <a:rPr lang="en-US" dirty="0"/>
            </a:br>
            <a:r>
              <a:rPr lang="en-US" dirty="0"/>
              <a:t>pull out quot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1C2B2B03-CEEA-874D-A750-6FF403EA5D7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58718" y="1881188"/>
            <a:ext cx="2920218" cy="2676592"/>
          </a:xfrm>
          <a:prstGeom prst="wedgeRectCallout">
            <a:avLst/>
          </a:prstGeom>
          <a:solidFill>
            <a:schemeClr val="bg1"/>
          </a:solidFill>
        </p:spPr>
        <p:txBody>
          <a:bodyPr lIns="360000" tIns="360000" rIns="360000" bIns="360000" anchor="ctr" anchorCtr="1">
            <a:noAutofit/>
          </a:bodyPr>
          <a:lstStyle>
            <a:lvl1pPr marL="0" marR="0" indent="0" algn="ctr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a </a:t>
            </a:r>
            <a:br>
              <a:rPr lang="en-US" dirty="0"/>
            </a:br>
            <a:r>
              <a:rPr lang="en-US" dirty="0"/>
              <a:t>pull out quot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2232494"/>
            <a:ext cx="2920218" cy="2676592"/>
          </a:xfrm>
          <a:prstGeom prst="wedgeRectCallout">
            <a:avLst/>
          </a:prstGeom>
          <a:solidFill>
            <a:schemeClr val="bg1"/>
          </a:solidFill>
        </p:spPr>
        <p:txBody>
          <a:bodyPr lIns="360000" tIns="360000" rIns="360000" bIns="360000" anchor="ctr" anchorCtr="1">
            <a:noAutofit/>
          </a:bodyPr>
          <a:lstStyle>
            <a:lvl1pPr algn="ctr">
              <a:defRPr sz="2000" b="1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a </a:t>
            </a:r>
            <a:br>
              <a:rPr lang="en-US" dirty="0"/>
            </a:br>
            <a:r>
              <a:rPr lang="en-US" dirty="0"/>
              <a:t>pull out quote</a:t>
            </a:r>
          </a:p>
        </p:txBody>
      </p: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D2C31501-0430-3C4C-BCDF-02858EDB89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267B948-0C8C-C34E-9539-DA705E0C3B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9273546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Quote slid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FDBC2A4-1DB4-3540-9D5A-4346507D58F7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B3EC247D-2EC7-9E42-883C-EF046AB6BACA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212102C-AC82-604A-9FB1-E27A1360EF3B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46" name="Text Placeholder 2078">
            <a:extLst>
              <a:ext uri="{FF2B5EF4-FFF2-40B4-BE49-F238E27FC236}">
                <a16:creationId xmlns:a16="http://schemas.microsoft.com/office/drawing/2014/main" id="{1D5702CF-0BB8-3E41-9985-B251C879B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36762200-99B6-C34E-B5FF-C0CFFBCD7AD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56803" y="5339202"/>
            <a:ext cx="683173" cy="669983"/>
            <a:chOff x="2737" y="1746"/>
            <a:chExt cx="1266" cy="1268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36C20F6-EC7E-064A-8E0D-11976B391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321CF9B5-E746-A240-8BB3-D19DE85146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18" name="Group 4">
            <a:extLst>
              <a:ext uri="{FF2B5EF4-FFF2-40B4-BE49-F238E27FC236}">
                <a16:creationId xmlns:a16="http://schemas.microsoft.com/office/drawing/2014/main" id="{5D266DD8-D7F2-9F43-8E7A-F3EEC70D990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34603" y="-350398"/>
            <a:ext cx="683173" cy="669983"/>
            <a:chOff x="2737" y="1746"/>
            <a:chExt cx="1266" cy="1268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3ABE757F-F34D-3C4E-88E0-544321974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F5AC-A753-F24E-A32F-9052B6A818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1" name="Group 4">
            <a:extLst>
              <a:ext uri="{FF2B5EF4-FFF2-40B4-BE49-F238E27FC236}">
                <a16:creationId xmlns:a16="http://schemas.microsoft.com/office/drawing/2014/main" id="{0168AE41-93F3-A34E-8581-5CEC02DFC3E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5B5E2938-72CF-8048-9ACA-CF33E1E847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9063535-FC63-B542-8A1F-DEE862650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90192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rt slide</a:t>
            </a:r>
            <a:endParaRPr lang="en-AU" dirty="0"/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D33AC7D5-E738-AD4B-95D6-9C3FCF65F1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16383" y="1665288"/>
            <a:ext cx="6183313" cy="4246562"/>
          </a:xfrm>
          <a:noFill/>
        </p:spPr>
        <p:txBody>
          <a:bodyPr lIns="360000" tIns="360000"/>
          <a:lstStyle/>
          <a:p>
            <a:r>
              <a:rPr lang="en-US" dirty="0"/>
              <a:t>Insert chart here</a:t>
            </a:r>
          </a:p>
        </p:txBody>
      </p:sp>
      <p:sp>
        <p:nvSpPr>
          <p:cNvPr id="20" name="Content Placeholder 12">
            <a:extLst>
              <a:ext uri="{FF2B5EF4-FFF2-40B4-BE49-F238E27FC236}">
                <a16:creationId xmlns:a16="http://schemas.microsoft.com/office/drawing/2014/main" id="{0129E124-9A9B-2640-9E5D-9644494EE57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97639" y="2898775"/>
            <a:ext cx="3092136" cy="231000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C226E9-6956-C54B-A69A-4904D6C5664C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C4BC6BD-7AC6-C047-B078-4628DC017F8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31A805F-FEDE-694C-B2EB-887E6393608E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6D7D6688-1806-1340-B1CE-CFB54359F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37D245E4-5D86-7C4C-9539-06BB517A324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302465" y="6347355"/>
            <a:ext cx="1041395" cy="1021289"/>
            <a:chOff x="2737" y="1746"/>
            <a:chExt cx="1266" cy="1268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00FDE27-CD63-AE42-8F14-91BF5D7F9D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60963C-AF70-9C41-A8AF-D3ED173E5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19" name="Group 4">
            <a:extLst>
              <a:ext uri="{FF2B5EF4-FFF2-40B4-BE49-F238E27FC236}">
                <a16:creationId xmlns:a16="http://schemas.microsoft.com/office/drawing/2014/main" id="{2B3B7E8A-9ABD-1941-B552-068650948E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543011" y="-578855"/>
            <a:ext cx="1041395" cy="1021289"/>
            <a:chOff x="2737" y="1746"/>
            <a:chExt cx="1266" cy="126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D4A8884-C56E-504B-BCB0-93EB471988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82EBF3E-8B24-BB45-9F2C-BF81FBB55A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4397B933-E56C-8C48-AD79-F9AD12EC19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343860" y="6124071"/>
            <a:ext cx="313313" cy="307264"/>
            <a:chOff x="2737" y="1746"/>
            <a:chExt cx="1266" cy="126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808759-8D98-1A4C-9761-9C1A6BBDBD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A9B84BA-D82C-9945-91EB-222FB060FF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1015AC6-7168-CA46-B73E-FDA517F06A42}"/>
              </a:ext>
            </a:extLst>
          </p:cNvPr>
          <p:cNvGrpSpPr/>
          <p:nvPr userDrawn="1"/>
        </p:nvGrpSpPr>
        <p:grpSpPr>
          <a:xfrm>
            <a:off x="-3771201" y="3284346"/>
            <a:ext cx="3292605" cy="2189354"/>
            <a:chOff x="6940574" y="1572373"/>
            <a:chExt cx="1908625" cy="108243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A1E3D4E-4944-FA49-99A8-78C8EF0E5D71}"/>
                </a:ext>
              </a:extLst>
            </p:cNvPr>
            <p:cNvSpPr/>
            <p:nvPr/>
          </p:nvSpPr>
          <p:spPr>
            <a:xfrm>
              <a:off x="6940574" y="1759471"/>
              <a:ext cx="1774322" cy="895336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To have more control of the labels with the charts you can insert them manually. Go to insert &gt; text box and place the text where you see fit. Example shown is within the bar. </a:t>
              </a:r>
            </a:p>
          </p:txBody>
        </p:sp>
        <p:sp>
          <p:nvSpPr>
            <p:cNvPr id="28" name="Triangle 27">
              <a:extLst>
                <a:ext uri="{FF2B5EF4-FFF2-40B4-BE49-F238E27FC236}">
                  <a16:creationId xmlns:a16="http://schemas.microsoft.com/office/drawing/2014/main" id="{5D1A455A-8376-0B41-8A26-8C7C68164866}"/>
                </a:ext>
              </a:extLst>
            </p:cNvPr>
            <p:cNvSpPr/>
            <p:nvPr/>
          </p:nvSpPr>
          <p:spPr>
            <a:xfrm rot="5400000">
              <a:off x="8610248" y="2049165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6A7529E-9368-3D42-970A-F76BE4472B75}"/>
                </a:ext>
              </a:extLst>
            </p:cNvPr>
            <p:cNvSpPr/>
            <p:nvPr/>
          </p:nvSpPr>
          <p:spPr>
            <a:xfrm>
              <a:off x="6940574" y="1572373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MANUAL LABELLING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2DB65D-C6C6-854A-8CC7-67C8090685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3" y="5911850"/>
            <a:ext cx="6200775" cy="277813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 dirty="0"/>
              <a:t>Insert footnote/source here</a:t>
            </a:r>
          </a:p>
        </p:txBody>
      </p:sp>
    </p:spTree>
    <p:extLst>
      <p:ext uri="{BB962C8B-B14F-4D97-AF65-F5344CB8AC3E}">
        <p14:creationId xmlns:p14="http://schemas.microsoft.com/office/powerpoint/2010/main" val="23162889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6391B83-AB9E-F240-9CE1-6F75D24E0583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316228" y="1665288"/>
            <a:ext cx="9274175" cy="4246562"/>
          </a:xfrm>
          <a:solidFill>
            <a:schemeClr val="bg1"/>
          </a:solidFill>
        </p:spPr>
        <p:txBody>
          <a:bodyPr vert="horz" lIns="360000" tIns="360000" rIns="0" bIns="0" rtlCol="0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Insert tab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slid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DCF70B-BE39-AE41-856E-AE133E8DA2A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C4F643E-4361-5C49-9F09-60A150F97625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7ED8D-743E-4A42-AF82-06B91EF4579F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accent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F86FB59-E627-814F-B55C-0F646E4583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03CCD123-B352-A34F-BE8E-7204D3EA11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223FA958-D70C-8A49-B5F1-A59E09B4E82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302465" y="6347355"/>
            <a:ext cx="1041395" cy="1021289"/>
            <a:chOff x="2737" y="1746"/>
            <a:chExt cx="1266" cy="126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87A9C991-7E35-1C42-B331-435DBCC7DD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33A9371-3081-A845-B9EF-60C66202F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id="{D72BD0B9-CCDC-2640-94BA-29D806A8FF7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539497" y="118640"/>
            <a:ext cx="385232" cy="377794"/>
            <a:chOff x="2737" y="1746"/>
            <a:chExt cx="1266" cy="126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9174DB9-0388-054B-9656-EF69234A4A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E0A51EE-6A09-6E44-ABFA-BD300321D5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75C93B52-E8BE-CF4C-8D39-041E30BB4B7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1090" y="6288050"/>
            <a:ext cx="313313" cy="307264"/>
            <a:chOff x="2737" y="1746"/>
            <a:chExt cx="1266" cy="126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FFAE4AB9-2257-DD4D-93C2-7B8B8310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22A3308-7825-A249-A9CE-19A05DB2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2C483989-1600-DD4E-8294-243CD1639A6D}"/>
              </a:ext>
            </a:extLst>
          </p:cNvPr>
          <p:cNvSpPr/>
          <p:nvPr userDrawn="1"/>
        </p:nvSpPr>
        <p:spPr>
          <a:xfrm>
            <a:off x="8337120" y="-891305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15BF455-67BF-BA49-BE94-4E1C2257A92D}"/>
              </a:ext>
            </a:extLst>
          </p:cNvPr>
          <p:cNvGrpSpPr/>
          <p:nvPr userDrawn="1"/>
        </p:nvGrpSpPr>
        <p:grpSpPr>
          <a:xfrm>
            <a:off x="10846461" y="14497"/>
            <a:ext cx="2704348" cy="1789067"/>
            <a:chOff x="6811349" y="1211547"/>
            <a:chExt cx="1910979" cy="303058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FAF3E59-AAD9-F444-B322-C218CF98AAB1}"/>
                </a:ext>
              </a:extLst>
            </p:cNvPr>
            <p:cNvSpPr/>
            <p:nvPr/>
          </p:nvSpPr>
          <p:spPr>
            <a:xfrm>
              <a:off x="6948010" y="1806120"/>
              <a:ext cx="1774318" cy="2436008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ensure the table remains clean and consistent you can evenly distribute rows and columns. To activate the layout tab click on the table and click distribute rows or columns. </a:t>
              </a:r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92FABBFB-4E60-5A47-966C-6AD45C8112C7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9B2E33-F876-5841-BAA6-121C6E36071E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ADDING ROWS TABLES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CA0557D-C773-0D44-8068-F02A6E1C30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859" y="2052726"/>
            <a:ext cx="2463800" cy="158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7779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meline slid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DCF70B-BE39-AE41-856E-AE133E8DA2A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C4F643E-4361-5C49-9F09-60A150F97625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7ED8D-743E-4A42-AF82-06B91EF4579F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accent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F86FB59-E627-814F-B55C-0F646E4583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03CCD123-B352-A34F-BE8E-7204D3EA11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223FA958-D70C-8A49-B5F1-A59E09B4E82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302465" y="6347355"/>
            <a:ext cx="1041395" cy="1021289"/>
            <a:chOff x="2737" y="1746"/>
            <a:chExt cx="1266" cy="126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87A9C991-7E35-1C42-B331-435DBCC7DD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33A9371-3081-A845-B9EF-60C66202F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id="{D72BD0B9-CCDC-2640-94BA-29D806A8FF7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539497" y="118640"/>
            <a:ext cx="385232" cy="377794"/>
            <a:chOff x="2737" y="1746"/>
            <a:chExt cx="1266" cy="126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9174DB9-0388-054B-9656-EF69234A4A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E0A51EE-6A09-6E44-ABFA-BD300321D5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75C93B52-E8BE-CF4C-8D39-041E30BB4B7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1090" y="6288050"/>
            <a:ext cx="313313" cy="307264"/>
            <a:chOff x="2737" y="1746"/>
            <a:chExt cx="1266" cy="126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FFAE4AB9-2257-DD4D-93C2-7B8B8310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22A3308-7825-A249-A9CE-19A05DB2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2C483989-1600-DD4E-8294-243CD1639A6D}"/>
              </a:ext>
            </a:extLst>
          </p:cNvPr>
          <p:cNvSpPr/>
          <p:nvPr userDrawn="1"/>
        </p:nvSpPr>
        <p:spPr>
          <a:xfrm>
            <a:off x="8337120" y="-891305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15BF455-67BF-BA49-BE94-4E1C2257A92D}"/>
              </a:ext>
            </a:extLst>
          </p:cNvPr>
          <p:cNvGrpSpPr/>
          <p:nvPr userDrawn="1"/>
        </p:nvGrpSpPr>
        <p:grpSpPr>
          <a:xfrm>
            <a:off x="10846461" y="14497"/>
            <a:ext cx="2704348" cy="1050403"/>
            <a:chOff x="6811349" y="1211547"/>
            <a:chExt cx="1910979" cy="177932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FAF3E59-AAD9-F444-B322-C218CF98AAB1}"/>
                </a:ext>
              </a:extLst>
            </p:cNvPr>
            <p:cNvSpPr/>
            <p:nvPr/>
          </p:nvSpPr>
          <p:spPr>
            <a:xfrm>
              <a:off x="6948010" y="1806120"/>
              <a:ext cx="1774318" cy="118475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add more years duplicate the slide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(command + D)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add in further information. </a:t>
              </a:r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92FABBFB-4E60-5A47-966C-6AD45C8112C7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9B2E33-F876-5841-BAA6-121C6E36071E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ADDING MORE YEARS</a:t>
              </a: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705B3A3-472A-C34E-95AD-AEA65040077F}"/>
              </a:ext>
            </a:extLst>
          </p:cNvPr>
          <p:cNvCxnSpPr>
            <a:cxnSpLocks/>
          </p:cNvCxnSpPr>
          <p:nvPr/>
        </p:nvCxnSpPr>
        <p:spPr>
          <a:xfrm>
            <a:off x="332241" y="2515960"/>
            <a:ext cx="925753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2F5D6B8D-165F-3B4D-A331-6889584BDD5D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16227" y="1937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EB2BB161-7A3F-444D-8426-7837EA4C3B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8927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0" name="Text Placeholder 2078">
            <a:extLst>
              <a:ext uri="{FF2B5EF4-FFF2-40B4-BE49-F238E27FC236}">
                <a16:creationId xmlns:a16="http://schemas.microsoft.com/office/drawing/2014/main" id="{DC7879B0-CD6F-D543-B8B3-7F5730E5882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28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1" name="Text Placeholder 2078">
            <a:extLst>
              <a:ext uri="{FF2B5EF4-FFF2-40B4-BE49-F238E27FC236}">
                <a16:creationId xmlns:a16="http://schemas.microsoft.com/office/drawing/2014/main" id="{CAA7E926-7CF6-1346-A45D-B6D9D7C133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53729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3" name="Text Placeholder 2078">
            <a:extLst>
              <a:ext uri="{FF2B5EF4-FFF2-40B4-BE49-F238E27FC236}">
                <a16:creationId xmlns:a16="http://schemas.microsoft.com/office/drawing/2014/main" id="{8FAE6811-3B63-664E-B02C-C8CE9C2C58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65338" y="2280466"/>
            <a:ext cx="389270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4" name="Text Placeholder 2078">
            <a:extLst>
              <a:ext uri="{FF2B5EF4-FFF2-40B4-BE49-F238E27FC236}">
                <a16:creationId xmlns:a16="http://schemas.microsoft.com/office/drawing/2014/main" id="{E04D9284-B8B7-AE49-8709-B728CC4E8F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52937" y="2280466"/>
            <a:ext cx="46246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5" name="Text Placeholder 2078">
            <a:extLst>
              <a:ext uri="{FF2B5EF4-FFF2-40B4-BE49-F238E27FC236}">
                <a16:creationId xmlns:a16="http://schemas.microsoft.com/office/drawing/2014/main" id="{85F683AF-B9F5-9B4B-9AD8-25ACDC6590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40536" y="2280466"/>
            <a:ext cx="403327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6" name="Text Placeholder 2078">
            <a:extLst>
              <a:ext uri="{FF2B5EF4-FFF2-40B4-BE49-F238E27FC236}">
                <a16:creationId xmlns:a16="http://schemas.microsoft.com/office/drawing/2014/main" id="{E78B2D99-F0F1-4147-A640-DBCE83135E3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828135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7" name="Text Placeholder 2078">
            <a:extLst>
              <a:ext uri="{FF2B5EF4-FFF2-40B4-BE49-F238E27FC236}">
                <a16:creationId xmlns:a16="http://schemas.microsoft.com/office/drawing/2014/main" id="{37BFFF04-E9F6-E04B-A97B-66B8E0F293F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66130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8" name="Text Placeholder 2078">
            <a:extLst>
              <a:ext uri="{FF2B5EF4-FFF2-40B4-BE49-F238E27FC236}">
                <a16:creationId xmlns:a16="http://schemas.microsoft.com/office/drawing/2014/main" id="{EA65511C-015D-6A4C-88BC-AE05D9C377A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90932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9" name="Text Placeholder 2078">
            <a:extLst>
              <a:ext uri="{FF2B5EF4-FFF2-40B4-BE49-F238E27FC236}">
                <a16:creationId xmlns:a16="http://schemas.microsoft.com/office/drawing/2014/main" id="{D5209F95-3447-C345-958F-E801DDE094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03333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50" name="Text Placeholder 2078">
            <a:extLst>
              <a:ext uri="{FF2B5EF4-FFF2-40B4-BE49-F238E27FC236}">
                <a16:creationId xmlns:a16="http://schemas.microsoft.com/office/drawing/2014/main" id="{2BC3D4D0-FA0B-D34A-8AB2-AADCAFB4A1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78531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51" name="Text Placeholder 2078">
            <a:extLst>
              <a:ext uri="{FF2B5EF4-FFF2-40B4-BE49-F238E27FC236}">
                <a16:creationId xmlns:a16="http://schemas.microsoft.com/office/drawing/2014/main" id="{7C731BEA-4051-824E-89AB-074452C61D0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015734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A198ABB-ACB3-434E-87CE-F45121B37B51}"/>
              </a:ext>
            </a:extLst>
          </p:cNvPr>
          <p:cNvGrpSpPr/>
          <p:nvPr userDrawn="1"/>
        </p:nvGrpSpPr>
        <p:grpSpPr>
          <a:xfrm>
            <a:off x="10846462" y="3240297"/>
            <a:ext cx="3034639" cy="1249566"/>
            <a:chOff x="6811349" y="1211547"/>
            <a:chExt cx="2144373" cy="2116696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8EFCAFB-A5C1-6447-A534-C125ACC85240}"/>
                </a:ext>
              </a:extLst>
            </p:cNvPr>
            <p:cNvSpPr/>
            <p:nvPr/>
          </p:nvSpPr>
          <p:spPr>
            <a:xfrm>
              <a:off x="6948010" y="1830677"/>
              <a:ext cx="2007712" cy="1497566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add more items duplicate the bar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(command + D)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add in further information to remove items delete bars.</a:t>
              </a:r>
            </a:p>
          </p:txBody>
        </p:sp>
        <p:sp>
          <p:nvSpPr>
            <p:cNvPr id="54" name="Triangle 53">
              <a:extLst>
                <a:ext uri="{FF2B5EF4-FFF2-40B4-BE49-F238E27FC236}">
                  <a16:creationId xmlns:a16="http://schemas.microsoft.com/office/drawing/2014/main" id="{04DFA73F-A0F0-1E45-8308-734351DF6464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BCBFF41-F421-8C40-BFCA-01F091B35306}"/>
                </a:ext>
              </a:extLst>
            </p:cNvPr>
            <p:cNvSpPr/>
            <p:nvPr/>
          </p:nvSpPr>
          <p:spPr>
            <a:xfrm>
              <a:off x="6955407" y="1211547"/>
              <a:ext cx="2000315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ADDING MORE/LESS I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2396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7727635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able slid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DCF70B-BE39-AE41-856E-AE133E8DA2A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C4F643E-4361-5C49-9F09-60A150F97625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7ED8D-743E-4A42-AF82-06B91EF4579F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F86FB59-E627-814F-B55C-0F646E4583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03CCD123-B352-A34F-BE8E-7204D3EA11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8" y="1175566"/>
            <a:ext cx="7741437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Table Placeholder 3">
            <a:extLst>
              <a:ext uri="{FF2B5EF4-FFF2-40B4-BE49-F238E27FC236}">
                <a16:creationId xmlns:a16="http://schemas.microsoft.com/office/drawing/2014/main" id="{4D388789-2F1D-8144-87BE-832E555C8C93}"/>
              </a:ext>
            </a:extLst>
          </p:cNvPr>
          <p:cNvSpPr>
            <a:spLocks noGrp="1"/>
          </p:cNvSpPr>
          <p:nvPr>
            <p:ph type="tbl" sz="quarter" idx="27" hasCustomPrompt="1"/>
          </p:nvPr>
        </p:nvSpPr>
        <p:spPr>
          <a:xfrm>
            <a:off x="315913" y="1665288"/>
            <a:ext cx="7727950" cy="3714750"/>
          </a:xfrm>
        </p:spPr>
        <p:txBody>
          <a:bodyPr lIns="251999" tIns="251999"/>
          <a:lstStyle>
            <a:lvl1pPr marL="0" marR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Insert table here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E872903-0C5D-F44B-A1B3-EB7B3FDE9DB0}"/>
              </a:ext>
            </a:extLst>
          </p:cNvPr>
          <p:cNvSpPr/>
          <p:nvPr userDrawn="1"/>
        </p:nvSpPr>
        <p:spPr>
          <a:xfrm>
            <a:off x="8306974" y="3202894"/>
            <a:ext cx="2573211" cy="2519549"/>
          </a:xfrm>
          <a:prstGeom prst="ellipse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800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7C828E3-7E62-4741-A497-0F0F1BECB10A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8335014" y="2529906"/>
            <a:ext cx="1267457" cy="1241025"/>
          </a:xfrm>
          <a:prstGeom prst="ellipse">
            <a:avLst/>
          </a:prstGeom>
          <a:solidFill>
            <a:schemeClr val="accent5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2199E4B-1480-3B47-A417-438F33C8B71C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8489402" y="474654"/>
            <a:ext cx="1100686" cy="1077732"/>
          </a:xfrm>
          <a:prstGeom prst="ellipse">
            <a:avLst/>
          </a:prstGeom>
          <a:solidFill>
            <a:schemeClr val="accent2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grpSp>
        <p:nvGrpSpPr>
          <p:cNvPr id="31" name="Group 4">
            <a:extLst>
              <a:ext uri="{FF2B5EF4-FFF2-40B4-BE49-F238E27FC236}">
                <a16:creationId xmlns:a16="http://schemas.microsoft.com/office/drawing/2014/main" id="{B84493BD-C3C6-C346-8A0D-55164D50C8D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B7A94290-5CB3-4B4D-B120-CD466958EA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43B0A58A-3E92-2C47-B3FF-0FB0B73F6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F90F3B1-CFD0-E448-B23C-50D1BE816633}"/>
              </a:ext>
            </a:extLst>
          </p:cNvPr>
          <p:cNvGrpSpPr/>
          <p:nvPr userDrawn="1"/>
        </p:nvGrpSpPr>
        <p:grpSpPr>
          <a:xfrm>
            <a:off x="10846462" y="3240297"/>
            <a:ext cx="3034639" cy="845218"/>
            <a:chOff x="6811349" y="1211547"/>
            <a:chExt cx="2144373" cy="143175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8D22E9E-7F0F-FF40-9631-85D2AD474BAF}"/>
                </a:ext>
              </a:extLst>
            </p:cNvPr>
            <p:cNvSpPr/>
            <p:nvPr/>
          </p:nvSpPr>
          <p:spPr>
            <a:xfrm>
              <a:off x="6948010" y="1771362"/>
              <a:ext cx="2007712" cy="871938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Highlight the columns you wish to delete, right click and delete.</a:t>
              </a:r>
            </a:p>
          </p:txBody>
        </p:sp>
        <p:sp>
          <p:nvSpPr>
            <p:cNvPr id="19" name="Triangle 18">
              <a:extLst>
                <a:ext uri="{FF2B5EF4-FFF2-40B4-BE49-F238E27FC236}">
                  <a16:creationId xmlns:a16="http://schemas.microsoft.com/office/drawing/2014/main" id="{929EE0F7-D5F1-E045-9E2F-C7555BE82C67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CA125C3-B99A-0749-B751-AFF3CB89338D}"/>
                </a:ext>
              </a:extLst>
            </p:cNvPr>
            <p:cNvSpPr/>
            <p:nvPr/>
          </p:nvSpPr>
          <p:spPr>
            <a:xfrm>
              <a:off x="6955407" y="1211547"/>
              <a:ext cx="2000315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REMOVING COLUM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67360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quare Crop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970CEFB-E51A-4B14-9DB2-514C0C5AB6A8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5858778" y="0"/>
            <a:ext cx="4047222" cy="3269409"/>
          </a:xfrm>
          <a:prstGeom prst="rect">
            <a:avLst/>
          </a:prstGeom>
          <a:solidFill>
            <a:schemeClr val="accent5">
              <a:alpha val="7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4109575"/>
            <a:ext cx="6512384" cy="11079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goes here across two lines</a:t>
            </a:r>
            <a:endParaRPr lang="en-AU" dirty="0"/>
          </a:p>
        </p:txBody>
      </p:sp>
      <p:sp>
        <p:nvSpPr>
          <p:cNvPr id="22" name="Freeform 10">
            <a:extLst>
              <a:ext uri="{FF2B5EF4-FFF2-40B4-BE49-F238E27FC236}">
                <a16:creationId xmlns:a16="http://schemas.microsoft.com/office/drawing/2014/main" id="{39AB1F3C-8E26-4E08-9535-80C3D60FD691}"/>
              </a:ext>
            </a:extLst>
          </p:cNvPr>
          <p:cNvSpPr>
            <a:spLocks/>
          </p:cNvSpPr>
          <p:nvPr userDrawn="1"/>
        </p:nvSpPr>
        <p:spPr bwMode="auto">
          <a:xfrm>
            <a:off x="2731322" y="3"/>
            <a:ext cx="2488634" cy="2384889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814657A7-7CC1-4B7D-BC3A-DD426F395464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841887" y="-1"/>
            <a:ext cx="4047222" cy="3269409"/>
          </a:xfrm>
          <a:prstGeom prst="rect">
            <a:avLst/>
          </a:prstGeom>
          <a:solidFill>
            <a:schemeClr val="bg1">
              <a:alpha val="15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 lang="en-AU" dirty="0"/>
          </a:p>
        </p:txBody>
      </p:sp>
      <p:grpSp>
        <p:nvGrpSpPr>
          <p:cNvPr id="2054" name="Group 20">
            <a:extLst>
              <a:ext uri="{FF2B5EF4-FFF2-40B4-BE49-F238E27FC236}">
                <a16:creationId xmlns:a16="http://schemas.microsoft.com/office/drawing/2014/main" id="{9B036ADB-BA28-4595-8355-A895DEFE17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1917" y="2760405"/>
            <a:ext cx="585982" cy="509004"/>
            <a:chOff x="1154" y="455"/>
            <a:chExt cx="3928" cy="3412"/>
          </a:xfrm>
        </p:grpSpPr>
        <p:sp>
          <p:nvSpPr>
            <p:cNvPr id="2056" name="Freeform 21">
              <a:extLst>
                <a:ext uri="{FF2B5EF4-FFF2-40B4-BE49-F238E27FC236}">
                  <a16:creationId xmlns:a16="http://schemas.microsoft.com/office/drawing/2014/main" id="{49F2FB40-13BC-433C-B295-DF4671F173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90" y="2845"/>
              <a:ext cx="3" cy="23"/>
            </a:xfrm>
            <a:custGeom>
              <a:avLst/>
              <a:gdLst>
                <a:gd name="T0" fmla="*/ 0 w 1"/>
                <a:gd name="T1" fmla="*/ 10 h 10"/>
                <a:gd name="T2" fmla="*/ 1 w 1"/>
                <a:gd name="T3" fmla="*/ 0 h 10"/>
                <a:gd name="T4" fmla="*/ 0 w 1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0">
                  <a:moveTo>
                    <a:pt x="0" y="10"/>
                  </a:moveTo>
                  <a:cubicBezTo>
                    <a:pt x="1" y="5"/>
                    <a:pt x="1" y="2"/>
                    <a:pt x="1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7" name="Freeform 22">
              <a:extLst>
                <a:ext uri="{FF2B5EF4-FFF2-40B4-BE49-F238E27FC236}">
                  <a16:creationId xmlns:a16="http://schemas.microsoft.com/office/drawing/2014/main" id="{AE6BB9A5-D096-4A22-AFE8-8D6B89A65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3" y="2694"/>
              <a:ext cx="12" cy="12"/>
            </a:xfrm>
            <a:custGeom>
              <a:avLst/>
              <a:gdLst>
                <a:gd name="T0" fmla="*/ 5 w 5"/>
                <a:gd name="T1" fmla="*/ 3 h 5"/>
                <a:gd name="T2" fmla="*/ 0 w 5"/>
                <a:gd name="T3" fmla="*/ 0 h 5"/>
                <a:gd name="T4" fmla="*/ 5 w 5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4" y="5"/>
                    <a:pt x="5" y="3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8" name="Freeform 23">
              <a:extLst>
                <a:ext uri="{FF2B5EF4-FFF2-40B4-BE49-F238E27FC236}">
                  <a16:creationId xmlns:a16="http://schemas.microsoft.com/office/drawing/2014/main" id="{E92B07B4-3CD9-4818-9CFB-006F896CB8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4" y="1548"/>
              <a:ext cx="5" cy="43"/>
            </a:xfrm>
            <a:custGeom>
              <a:avLst/>
              <a:gdLst>
                <a:gd name="T0" fmla="*/ 1 w 2"/>
                <a:gd name="T1" fmla="*/ 0 h 18"/>
                <a:gd name="T2" fmla="*/ 0 w 2"/>
                <a:gd name="T3" fmla="*/ 18 h 18"/>
                <a:gd name="T4" fmla="*/ 1 w 2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8">
                  <a:moveTo>
                    <a:pt x="1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2" y="8"/>
                    <a:pt x="1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9" name="Freeform 24">
              <a:extLst>
                <a:ext uri="{FF2B5EF4-FFF2-40B4-BE49-F238E27FC236}">
                  <a16:creationId xmlns:a16="http://schemas.microsoft.com/office/drawing/2014/main" id="{1EF26DD0-2448-4975-9D0C-C8C2FEA1E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1" y="3497"/>
              <a:ext cx="33" cy="38"/>
            </a:xfrm>
            <a:custGeom>
              <a:avLst/>
              <a:gdLst>
                <a:gd name="T0" fmla="*/ 0 w 14"/>
                <a:gd name="T1" fmla="*/ 16 h 16"/>
                <a:gd name="T2" fmla="*/ 2 w 14"/>
                <a:gd name="T3" fmla="*/ 0 h 16"/>
                <a:gd name="T4" fmla="*/ 0 w 14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6">
                  <a:moveTo>
                    <a:pt x="0" y="16"/>
                  </a:moveTo>
                  <a:cubicBezTo>
                    <a:pt x="14" y="8"/>
                    <a:pt x="4" y="6"/>
                    <a:pt x="2" y="0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0" name="Freeform 25">
              <a:extLst>
                <a:ext uri="{FF2B5EF4-FFF2-40B4-BE49-F238E27FC236}">
                  <a16:creationId xmlns:a16="http://schemas.microsoft.com/office/drawing/2014/main" id="{2E2B54BC-EB3B-40E4-936A-5FBE24F621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7" y="3474"/>
              <a:ext cx="7" cy="7"/>
            </a:xfrm>
            <a:custGeom>
              <a:avLst/>
              <a:gdLst>
                <a:gd name="T0" fmla="*/ 3 w 3"/>
                <a:gd name="T1" fmla="*/ 3 h 3"/>
                <a:gd name="T2" fmla="*/ 1 w 3"/>
                <a:gd name="T3" fmla="*/ 0 h 3"/>
                <a:gd name="T4" fmla="*/ 3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2"/>
                    <a:pt x="2" y="1"/>
                    <a:pt x="1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1" name="Freeform 26">
              <a:extLst>
                <a:ext uri="{FF2B5EF4-FFF2-40B4-BE49-F238E27FC236}">
                  <a16:creationId xmlns:a16="http://schemas.microsoft.com/office/drawing/2014/main" id="{C289839E-1D07-4D98-85D2-F7A898979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3" y="648"/>
              <a:ext cx="7" cy="5"/>
            </a:xfrm>
            <a:custGeom>
              <a:avLst/>
              <a:gdLst>
                <a:gd name="T0" fmla="*/ 3 w 3"/>
                <a:gd name="T1" fmla="*/ 2 h 2"/>
                <a:gd name="T2" fmla="*/ 2 w 3"/>
                <a:gd name="T3" fmla="*/ 2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0" y="0"/>
                    <a:pt x="1" y="0"/>
                    <a:pt x="2" y="2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2" name="Freeform 27">
              <a:extLst>
                <a:ext uri="{FF2B5EF4-FFF2-40B4-BE49-F238E27FC236}">
                  <a16:creationId xmlns:a16="http://schemas.microsoft.com/office/drawing/2014/main" id="{364CA78C-4E0B-4846-B904-D33D1A0EE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83" y="3764"/>
              <a:ext cx="24" cy="11"/>
            </a:xfrm>
            <a:custGeom>
              <a:avLst/>
              <a:gdLst>
                <a:gd name="T0" fmla="*/ 10 w 10"/>
                <a:gd name="T1" fmla="*/ 1 h 5"/>
                <a:gd name="T2" fmla="*/ 8 w 10"/>
                <a:gd name="T3" fmla="*/ 0 h 5"/>
                <a:gd name="T4" fmla="*/ 10 w 10"/>
                <a:gd name="T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10" y="1"/>
                  </a:moveTo>
                  <a:cubicBezTo>
                    <a:pt x="9" y="0"/>
                    <a:pt x="8" y="0"/>
                    <a:pt x="8" y="0"/>
                  </a:cubicBezTo>
                  <a:cubicBezTo>
                    <a:pt x="0" y="5"/>
                    <a:pt x="4" y="4"/>
                    <a:pt x="10" y="1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3" name="Freeform 28">
              <a:extLst>
                <a:ext uri="{FF2B5EF4-FFF2-40B4-BE49-F238E27FC236}">
                  <a16:creationId xmlns:a16="http://schemas.microsoft.com/office/drawing/2014/main" id="{E22B1862-2D5C-42A1-8122-107F434EA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0" y="792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4" name="Freeform 29">
              <a:extLst>
                <a:ext uri="{FF2B5EF4-FFF2-40B4-BE49-F238E27FC236}">
                  <a16:creationId xmlns:a16="http://schemas.microsoft.com/office/drawing/2014/main" id="{5E89DC0F-3520-4946-8F70-5440F568E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86" y="794"/>
              <a:ext cx="97" cy="85"/>
            </a:xfrm>
            <a:custGeom>
              <a:avLst/>
              <a:gdLst>
                <a:gd name="T0" fmla="*/ 0 w 41"/>
                <a:gd name="T1" fmla="*/ 36 h 36"/>
                <a:gd name="T2" fmla="*/ 41 w 41"/>
                <a:gd name="T3" fmla="*/ 7 h 36"/>
                <a:gd name="T4" fmla="*/ 11 w 41"/>
                <a:gd name="T5" fmla="*/ 0 h 36"/>
                <a:gd name="T6" fmla="*/ 0 w 41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6">
                  <a:moveTo>
                    <a:pt x="0" y="36"/>
                  </a:moveTo>
                  <a:cubicBezTo>
                    <a:pt x="13" y="26"/>
                    <a:pt x="27" y="16"/>
                    <a:pt x="41" y="7"/>
                  </a:cubicBezTo>
                  <a:cubicBezTo>
                    <a:pt x="22" y="13"/>
                    <a:pt x="17" y="8"/>
                    <a:pt x="11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5" name="Freeform 30">
              <a:extLst>
                <a:ext uri="{FF2B5EF4-FFF2-40B4-BE49-F238E27FC236}">
                  <a16:creationId xmlns:a16="http://schemas.microsoft.com/office/drawing/2014/main" id="{5B95F7D8-0B7F-44EF-918F-33B5C46836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54" y="455"/>
              <a:ext cx="3928" cy="3412"/>
            </a:xfrm>
            <a:custGeom>
              <a:avLst/>
              <a:gdLst>
                <a:gd name="T0" fmla="*/ 1647 w 1665"/>
                <a:gd name="T1" fmla="*/ 800 h 1448"/>
                <a:gd name="T2" fmla="*/ 1600 w 1665"/>
                <a:gd name="T3" fmla="*/ 661 h 1448"/>
                <a:gd name="T4" fmla="*/ 1579 w 1665"/>
                <a:gd name="T5" fmla="*/ 622 h 1448"/>
                <a:gd name="T6" fmla="*/ 1539 w 1665"/>
                <a:gd name="T7" fmla="*/ 482 h 1448"/>
                <a:gd name="T8" fmla="*/ 1490 w 1665"/>
                <a:gd name="T9" fmla="*/ 478 h 1448"/>
                <a:gd name="T10" fmla="*/ 1497 w 1665"/>
                <a:gd name="T11" fmla="*/ 458 h 1448"/>
                <a:gd name="T12" fmla="*/ 1528 w 1665"/>
                <a:gd name="T13" fmla="*/ 462 h 1448"/>
                <a:gd name="T14" fmla="*/ 1516 w 1665"/>
                <a:gd name="T15" fmla="*/ 399 h 1448"/>
                <a:gd name="T16" fmla="*/ 1484 w 1665"/>
                <a:gd name="T17" fmla="*/ 373 h 1448"/>
                <a:gd name="T18" fmla="*/ 1398 w 1665"/>
                <a:gd name="T19" fmla="*/ 287 h 1448"/>
                <a:gd name="T20" fmla="*/ 1388 w 1665"/>
                <a:gd name="T21" fmla="*/ 270 h 1448"/>
                <a:gd name="T22" fmla="*/ 1295 w 1665"/>
                <a:gd name="T23" fmla="*/ 170 h 1448"/>
                <a:gd name="T24" fmla="*/ 1221 w 1665"/>
                <a:gd name="T25" fmla="*/ 127 h 1448"/>
                <a:gd name="T26" fmla="*/ 1180 w 1665"/>
                <a:gd name="T27" fmla="*/ 106 h 1448"/>
                <a:gd name="T28" fmla="*/ 1119 w 1665"/>
                <a:gd name="T29" fmla="*/ 87 h 1448"/>
                <a:gd name="T30" fmla="*/ 962 w 1665"/>
                <a:gd name="T31" fmla="*/ 96 h 1448"/>
                <a:gd name="T32" fmla="*/ 1023 w 1665"/>
                <a:gd name="T33" fmla="*/ 27 h 1448"/>
                <a:gd name="T34" fmla="*/ 916 w 1665"/>
                <a:gd name="T35" fmla="*/ 69 h 1448"/>
                <a:gd name="T36" fmla="*/ 851 w 1665"/>
                <a:gd name="T37" fmla="*/ 26 h 1448"/>
                <a:gd name="T38" fmla="*/ 810 w 1665"/>
                <a:gd name="T39" fmla="*/ 72 h 1448"/>
                <a:gd name="T40" fmla="*/ 790 w 1665"/>
                <a:gd name="T41" fmla="*/ 29 h 1448"/>
                <a:gd name="T42" fmla="*/ 717 w 1665"/>
                <a:gd name="T43" fmla="*/ 45 h 1448"/>
                <a:gd name="T44" fmla="*/ 680 w 1665"/>
                <a:gd name="T45" fmla="*/ 84 h 1448"/>
                <a:gd name="T46" fmla="*/ 563 w 1665"/>
                <a:gd name="T47" fmla="*/ 62 h 1448"/>
                <a:gd name="T48" fmla="*/ 472 w 1665"/>
                <a:gd name="T49" fmla="*/ 137 h 1448"/>
                <a:gd name="T50" fmla="*/ 356 w 1665"/>
                <a:gd name="T51" fmla="*/ 192 h 1448"/>
                <a:gd name="T52" fmla="*/ 307 w 1665"/>
                <a:gd name="T53" fmla="*/ 224 h 1448"/>
                <a:gd name="T54" fmla="*/ 235 w 1665"/>
                <a:gd name="T55" fmla="*/ 284 h 1448"/>
                <a:gd name="T56" fmla="*/ 209 w 1665"/>
                <a:gd name="T57" fmla="*/ 308 h 1448"/>
                <a:gd name="T58" fmla="*/ 187 w 1665"/>
                <a:gd name="T59" fmla="*/ 333 h 1448"/>
                <a:gd name="T60" fmla="*/ 6 w 1665"/>
                <a:gd name="T61" fmla="*/ 981 h 1448"/>
                <a:gd name="T62" fmla="*/ 33 w 1665"/>
                <a:gd name="T63" fmla="*/ 1064 h 1448"/>
                <a:gd name="T64" fmla="*/ 106 w 1665"/>
                <a:gd name="T65" fmla="*/ 1191 h 1448"/>
                <a:gd name="T66" fmla="*/ 129 w 1665"/>
                <a:gd name="T67" fmla="*/ 1192 h 1448"/>
                <a:gd name="T68" fmla="*/ 203 w 1665"/>
                <a:gd name="T69" fmla="*/ 1267 h 1448"/>
                <a:gd name="T70" fmla="*/ 256 w 1665"/>
                <a:gd name="T71" fmla="*/ 1313 h 1448"/>
                <a:gd name="T72" fmla="*/ 479 w 1665"/>
                <a:gd name="T73" fmla="*/ 1375 h 1448"/>
                <a:gd name="T74" fmla="*/ 568 w 1665"/>
                <a:gd name="T75" fmla="*/ 1376 h 1448"/>
                <a:gd name="T76" fmla="*/ 684 w 1665"/>
                <a:gd name="T77" fmla="*/ 1424 h 1448"/>
                <a:gd name="T78" fmla="*/ 742 w 1665"/>
                <a:gd name="T79" fmla="*/ 1425 h 1448"/>
                <a:gd name="T80" fmla="*/ 845 w 1665"/>
                <a:gd name="T81" fmla="*/ 1390 h 1448"/>
                <a:gd name="T82" fmla="*/ 823 w 1665"/>
                <a:gd name="T83" fmla="*/ 1438 h 1448"/>
                <a:gd name="T84" fmla="*/ 890 w 1665"/>
                <a:gd name="T85" fmla="*/ 1438 h 1448"/>
                <a:gd name="T86" fmla="*/ 991 w 1665"/>
                <a:gd name="T87" fmla="*/ 1419 h 1448"/>
                <a:gd name="T88" fmla="*/ 1065 w 1665"/>
                <a:gd name="T89" fmla="*/ 1398 h 1448"/>
                <a:gd name="T90" fmla="*/ 1117 w 1665"/>
                <a:gd name="T91" fmla="*/ 1397 h 1448"/>
                <a:gd name="T92" fmla="*/ 1178 w 1665"/>
                <a:gd name="T93" fmla="*/ 1365 h 1448"/>
                <a:gd name="T94" fmla="*/ 1238 w 1665"/>
                <a:gd name="T95" fmla="*/ 1333 h 1448"/>
                <a:gd name="T96" fmla="*/ 1283 w 1665"/>
                <a:gd name="T97" fmla="*/ 1333 h 1448"/>
                <a:gd name="T98" fmla="*/ 1441 w 1665"/>
                <a:gd name="T99" fmla="*/ 1227 h 1448"/>
                <a:gd name="T100" fmla="*/ 1522 w 1665"/>
                <a:gd name="T101" fmla="*/ 1129 h 1448"/>
                <a:gd name="T102" fmla="*/ 1548 w 1665"/>
                <a:gd name="T103" fmla="*/ 1128 h 1448"/>
                <a:gd name="T104" fmla="*/ 1570 w 1665"/>
                <a:gd name="T105" fmla="*/ 1055 h 1448"/>
                <a:gd name="T106" fmla="*/ 1591 w 1665"/>
                <a:gd name="T107" fmla="*/ 989 h 1448"/>
                <a:gd name="T108" fmla="*/ 1596 w 1665"/>
                <a:gd name="T109" fmla="*/ 925 h 1448"/>
                <a:gd name="T110" fmla="*/ 1629 w 1665"/>
                <a:gd name="T111" fmla="*/ 868 h 1448"/>
                <a:gd name="T112" fmla="*/ 1500 w 1665"/>
                <a:gd name="T113" fmla="*/ 445 h 1448"/>
                <a:gd name="T114" fmla="*/ 1618 w 1665"/>
                <a:gd name="T115" fmla="*/ 857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65" h="1448">
                  <a:moveTo>
                    <a:pt x="1618" y="857"/>
                  </a:moveTo>
                  <a:cubicBezTo>
                    <a:pt x="1622" y="850"/>
                    <a:pt x="1624" y="841"/>
                    <a:pt x="1617" y="828"/>
                  </a:cubicBezTo>
                  <a:cubicBezTo>
                    <a:pt x="1631" y="828"/>
                    <a:pt x="1628" y="815"/>
                    <a:pt x="1629" y="799"/>
                  </a:cubicBezTo>
                  <a:cubicBezTo>
                    <a:pt x="1647" y="800"/>
                    <a:pt x="1647" y="800"/>
                    <a:pt x="1647" y="800"/>
                  </a:cubicBezTo>
                  <a:cubicBezTo>
                    <a:pt x="1641" y="782"/>
                    <a:pt x="1632" y="784"/>
                    <a:pt x="1623" y="774"/>
                  </a:cubicBezTo>
                  <a:cubicBezTo>
                    <a:pt x="1624" y="755"/>
                    <a:pt x="1638" y="750"/>
                    <a:pt x="1650" y="744"/>
                  </a:cubicBezTo>
                  <a:cubicBezTo>
                    <a:pt x="1651" y="713"/>
                    <a:pt x="1628" y="768"/>
                    <a:pt x="1622" y="731"/>
                  </a:cubicBezTo>
                  <a:cubicBezTo>
                    <a:pt x="1629" y="704"/>
                    <a:pt x="1616" y="688"/>
                    <a:pt x="1600" y="661"/>
                  </a:cubicBezTo>
                  <a:cubicBezTo>
                    <a:pt x="1603" y="642"/>
                    <a:pt x="1612" y="661"/>
                    <a:pt x="1616" y="654"/>
                  </a:cubicBezTo>
                  <a:cubicBezTo>
                    <a:pt x="1599" y="642"/>
                    <a:pt x="1599" y="642"/>
                    <a:pt x="1599" y="642"/>
                  </a:cubicBezTo>
                  <a:cubicBezTo>
                    <a:pt x="1599" y="638"/>
                    <a:pt x="1603" y="638"/>
                    <a:pt x="1606" y="638"/>
                  </a:cubicBezTo>
                  <a:cubicBezTo>
                    <a:pt x="1598" y="627"/>
                    <a:pt x="1587" y="641"/>
                    <a:pt x="1579" y="622"/>
                  </a:cubicBezTo>
                  <a:cubicBezTo>
                    <a:pt x="1558" y="622"/>
                    <a:pt x="1596" y="575"/>
                    <a:pt x="1567" y="558"/>
                  </a:cubicBezTo>
                  <a:cubicBezTo>
                    <a:pt x="1570" y="550"/>
                    <a:pt x="1578" y="557"/>
                    <a:pt x="1585" y="553"/>
                  </a:cubicBezTo>
                  <a:cubicBezTo>
                    <a:pt x="1560" y="525"/>
                    <a:pt x="1567" y="528"/>
                    <a:pt x="1537" y="509"/>
                  </a:cubicBezTo>
                  <a:cubicBezTo>
                    <a:pt x="1539" y="482"/>
                    <a:pt x="1539" y="482"/>
                    <a:pt x="1539" y="482"/>
                  </a:cubicBezTo>
                  <a:cubicBezTo>
                    <a:pt x="1533" y="504"/>
                    <a:pt x="1509" y="489"/>
                    <a:pt x="1490" y="478"/>
                  </a:cubicBezTo>
                  <a:cubicBezTo>
                    <a:pt x="1489" y="479"/>
                    <a:pt x="1489" y="480"/>
                    <a:pt x="1488" y="481"/>
                  </a:cubicBezTo>
                  <a:cubicBezTo>
                    <a:pt x="1487" y="479"/>
                    <a:pt x="1486" y="477"/>
                    <a:pt x="1485" y="475"/>
                  </a:cubicBezTo>
                  <a:cubicBezTo>
                    <a:pt x="1487" y="476"/>
                    <a:pt x="1488" y="477"/>
                    <a:pt x="1490" y="478"/>
                  </a:cubicBezTo>
                  <a:cubicBezTo>
                    <a:pt x="1490" y="476"/>
                    <a:pt x="1491" y="474"/>
                    <a:pt x="1492" y="473"/>
                  </a:cubicBezTo>
                  <a:cubicBezTo>
                    <a:pt x="1489" y="472"/>
                    <a:pt x="1486" y="472"/>
                    <a:pt x="1484" y="472"/>
                  </a:cubicBezTo>
                  <a:cubicBezTo>
                    <a:pt x="1482" y="467"/>
                    <a:pt x="1480" y="463"/>
                    <a:pt x="1478" y="459"/>
                  </a:cubicBezTo>
                  <a:cubicBezTo>
                    <a:pt x="1483" y="457"/>
                    <a:pt x="1490" y="457"/>
                    <a:pt x="1497" y="458"/>
                  </a:cubicBezTo>
                  <a:cubicBezTo>
                    <a:pt x="1496" y="463"/>
                    <a:pt x="1494" y="468"/>
                    <a:pt x="1492" y="473"/>
                  </a:cubicBezTo>
                  <a:cubicBezTo>
                    <a:pt x="1505" y="475"/>
                    <a:pt x="1519" y="476"/>
                    <a:pt x="1528" y="471"/>
                  </a:cubicBezTo>
                  <a:cubicBezTo>
                    <a:pt x="1526" y="470"/>
                    <a:pt x="1522" y="467"/>
                    <a:pt x="1520" y="463"/>
                  </a:cubicBezTo>
                  <a:cubicBezTo>
                    <a:pt x="1523" y="464"/>
                    <a:pt x="1526" y="464"/>
                    <a:pt x="1528" y="462"/>
                  </a:cubicBezTo>
                  <a:cubicBezTo>
                    <a:pt x="1529" y="460"/>
                    <a:pt x="1524" y="459"/>
                    <a:pt x="1518" y="456"/>
                  </a:cubicBezTo>
                  <a:cubicBezTo>
                    <a:pt x="1533" y="441"/>
                    <a:pt x="1533" y="441"/>
                    <a:pt x="1533" y="441"/>
                  </a:cubicBezTo>
                  <a:cubicBezTo>
                    <a:pt x="1525" y="443"/>
                    <a:pt x="1525" y="443"/>
                    <a:pt x="1525" y="443"/>
                  </a:cubicBezTo>
                  <a:cubicBezTo>
                    <a:pt x="1516" y="399"/>
                    <a:pt x="1516" y="399"/>
                    <a:pt x="1516" y="399"/>
                  </a:cubicBezTo>
                  <a:cubicBezTo>
                    <a:pt x="1500" y="391"/>
                    <a:pt x="1482" y="386"/>
                    <a:pt x="1463" y="380"/>
                  </a:cubicBezTo>
                  <a:cubicBezTo>
                    <a:pt x="1444" y="373"/>
                    <a:pt x="1427" y="364"/>
                    <a:pt x="1410" y="350"/>
                  </a:cubicBezTo>
                  <a:cubicBezTo>
                    <a:pt x="1429" y="349"/>
                    <a:pt x="1431" y="336"/>
                    <a:pt x="1445" y="325"/>
                  </a:cubicBezTo>
                  <a:cubicBezTo>
                    <a:pt x="1438" y="347"/>
                    <a:pt x="1473" y="350"/>
                    <a:pt x="1484" y="373"/>
                  </a:cubicBezTo>
                  <a:cubicBezTo>
                    <a:pt x="1479" y="361"/>
                    <a:pt x="1487" y="359"/>
                    <a:pt x="1492" y="360"/>
                  </a:cubicBezTo>
                  <a:cubicBezTo>
                    <a:pt x="1452" y="333"/>
                    <a:pt x="1452" y="333"/>
                    <a:pt x="1452" y="333"/>
                  </a:cubicBezTo>
                  <a:cubicBezTo>
                    <a:pt x="1465" y="325"/>
                    <a:pt x="1456" y="319"/>
                    <a:pt x="1452" y="307"/>
                  </a:cubicBezTo>
                  <a:cubicBezTo>
                    <a:pt x="1436" y="331"/>
                    <a:pt x="1416" y="294"/>
                    <a:pt x="1398" y="287"/>
                  </a:cubicBezTo>
                  <a:cubicBezTo>
                    <a:pt x="1404" y="279"/>
                    <a:pt x="1414" y="276"/>
                    <a:pt x="1427" y="294"/>
                  </a:cubicBezTo>
                  <a:cubicBezTo>
                    <a:pt x="1427" y="278"/>
                    <a:pt x="1416" y="277"/>
                    <a:pt x="1404" y="278"/>
                  </a:cubicBezTo>
                  <a:cubicBezTo>
                    <a:pt x="1392" y="278"/>
                    <a:pt x="1380" y="280"/>
                    <a:pt x="1379" y="265"/>
                  </a:cubicBezTo>
                  <a:cubicBezTo>
                    <a:pt x="1382" y="269"/>
                    <a:pt x="1383" y="272"/>
                    <a:pt x="1388" y="270"/>
                  </a:cubicBezTo>
                  <a:cubicBezTo>
                    <a:pt x="1373" y="268"/>
                    <a:pt x="1357" y="242"/>
                    <a:pt x="1367" y="241"/>
                  </a:cubicBezTo>
                  <a:cubicBezTo>
                    <a:pt x="1371" y="244"/>
                    <a:pt x="1371" y="244"/>
                    <a:pt x="1371" y="244"/>
                  </a:cubicBezTo>
                  <a:cubicBezTo>
                    <a:pt x="1349" y="217"/>
                    <a:pt x="1288" y="177"/>
                    <a:pt x="1270" y="196"/>
                  </a:cubicBezTo>
                  <a:cubicBezTo>
                    <a:pt x="1271" y="193"/>
                    <a:pt x="1290" y="173"/>
                    <a:pt x="1295" y="170"/>
                  </a:cubicBezTo>
                  <a:cubicBezTo>
                    <a:pt x="1272" y="178"/>
                    <a:pt x="1250" y="187"/>
                    <a:pt x="1229" y="196"/>
                  </a:cubicBezTo>
                  <a:cubicBezTo>
                    <a:pt x="1224" y="193"/>
                    <a:pt x="1218" y="190"/>
                    <a:pt x="1213" y="186"/>
                  </a:cubicBezTo>
                  <a:cubicBezTo>
                    <a:pt x="1222" y="165"/>
                    <a:pt x="1232" y="140"/>
                    <a:pt x="1253" y="143"/>
                  </a:cubicBezTo>
                  <a:cubicBezTo>
                    <a:pt x="1248" y="136"/>
                    <a:pt x="1240" y="128"/>
                    <a:pt x="1221" y="127"/>
                  </a:cubicBezTo>
                  <a:cubicBezTo>
                    <a:pt x="1224" y="132"/>
                    <a:pt x="1218" y="160"/>
                    <a:pt x="1211" y="158"/>
                  </a:cubicBezTo>
                  <a:cubicBezTo>
                    <a:pt x="1203" y="128"/>
                    <a:pt x="1204" y="140"/>
                    <a:pt x="1190" y="110"/>
                  </a:cubicBezTo>
                  <a:cubicBezTo>
                    <a:pt x="1195" y="118"/>
                    <a:pt x="1173" y="143"/>
                    <a:pt x="1161" y="138"/>
                  </a:cubicBezTo>
                  <a:cubicBezTo>
                    <a:pt x="1165" y="134"/>
                    <a:pt x="1174" y="107"/>
                    <a:pt x="1180" y="106"/>
                  </a:cubicBezTo>
                  <a:cubicBezTo>
                    <a:pt x="1165" y="112"/>
                    <a:pt x="1150" y="117"/>
                    <a:pt x="1136" y="123"/>
                  </a:cubicBezTo>
                  <a:cubicBezTo>
                    <a:pt x="1146" y="121"/>
                    <a:pt x="1149" y="98"/>
                    <a:pt x="1145" y="87"/>
                  </a:cubicBezTo>
                  <a:cubicBezTo>
                    <a:pt x="1146" y="94"/>
                    <a:pt x="1118" y="74"/>
                    <a:pt x="1108" y="75"/>
                  </a:cubicBezTo>
                  <a:cubicBezTo>
                    <a:pt x="1119" y="87"/>
                    <a:pt x="1119" y="87"/>
                    <a:pt x="1119" y="87"/>
                  </a:cubicBezTo>
                  <a:cubicBezTo>
                    <a:pt x="1085" y="71"/>
                    <a:pt x="1070" y="118"/>
                    <a:pt x="1036" y="106"/>
                  </a:cubicBezTo>
                  <a:cubicBezTo>
                    <a:pt x="1042" y="101"/>
                    <a:pt x="1059" y="69"/>
                    <a:pt x="1041" y="61"/>
                  </a:cubicBezTo>
                  <a:cubicBezTo>
                    <a:pt x="1034" y="68"/>
                    <a:pt x="1019" y="87"/>
                    <a:pt x="1001" y="104"/>
                  </a:cubicBezTo>
                  <a:cubicBezTo>
                    <a:pt x="988" y="101"/>
                    <a:pt x="975" y="98"/>
                    <a:pt x="962" y="96"/>
                  </a:cubicBezTo>
                  <a:cubicBezTo>
                    <a:pt x="965" y="93"/>
                    <a:pt x="968" y="91"/>
                    <a:pt x="970" y="89"/>
                  </a:cubicBezTo>
                  <a:cubicBezTo>
                    <a:pt x="989" y="73"/>
                    <a:pt x="1009" y="59"/>
                    <a:pt x="1024" y="52"/>
                  </a:cubicBezTo>
                  <a:cubicBezTo>
                    <a:pt x="1012" y="41"/>
                    <a:pt x="1023" y="40"/>
                    <a:pt x="1002" y="36"/>
                  </a:cubicBezTo>
                  <a:cubicBezTo>
                    <a:pt x="996" y="25"/>
                    <a:pt x="1016" y="25"/>
                    <a:pt x="1023" y="27"/>
                  </a:cubicBezTo>
                  <a:cubicBezTo>
                    <a:pt x="1007" y="21"/>
                    <a:pt x="991" y="14"/>
                    <a:pt x="974" y="10"/>
                  </a:cubicBezTo>
                  <a:cubicBezTo>
                    <a:pt x="973" y="30"/>
                    <a:pt x="933" y="23"/>
                    <a:pt x="933" y="39"/>
                  </a:cubicBezTo>
                  <a:cubicBezTo>
                    <a:pt x="989" y="28"/>
                    <a:pt x="989" y="28"/>
                    <a:pt x="989" y="28"/>
                  </a:cubicBezTo>
                  <a:cubicBezTo>
                    <a:pt x="987" y="48"/>
                    <a:pt x="948" y="78"/>
                    <a:pt x="916" y="69"/>
                  </a:cubicBezTo>
                  <a:cubicBezTo>
                    <a:pt x="909" y="60"/>
                    <a:pt x="927" y="35"/>
                    <a:pt x="928" y="29"/>
                  </a:cubicBezTo>
                  <a:cubicBezTo>
                    <a:pt x="922" y="34"/>
                    <a:pt x="893" y="38"/>
                    <a:pt x="891" y="33"/>
                  </a:cubicBezTo>
                  <a:cubicBezTo>
                    <a:pt x="907" y="24"/>
                    <a:pt x="907" y="24"/>
                    <a:pt x="907" y="24"/>
                  </a:cubicBezTo>
                  <a:cubicBezTo>
                    <a:pt x="888" y="15"/>
                    <a:pt x="873" y="47"/>
                    <a:pt x="851" y="26"/>
                  </a:cubicBezTo>
                  <a:cubicBezTo>
                    <a:pt x="843" y="24"/>
                    <a:pt x="828" y="0"/>
                    <a:pt x="826" y="11"/>
                  </a:cubicBezTo>
                  <a:cubicBezTo>
                    <a:pt x="834" y="25"/>
                    <a:pt x="836" y="55"/>
                    <a:pt x="835" y="80"/>
                  </a:cubicBezTo>
                  <a:cubicBezTo>
                    <a:pt x="826" y="80"/>
                    <a:pt x="818" y="80"/>
                    <a:pt x="809" y="80"/>
                  </a:cubicBezTo>
                  <a:cubicBezTo>
                    <a:pt x="810" y="72"/>
                    <a:pt x="810" y="72"/>
                    <a:pt x="810" y="72"/>
                  </a:cubicBezTo>
                  <a:cubicBezTo>
                    <a:pt x="805" y="72"/>
                    <a:pt x="805" y="72"/>
                    <a:pt x="805" y="72"/>
                  </a:cubicBezTo>
                  <a:cubicBezTo>
                    <a:pt x="805" y="80"/>
                    <a:pt x="805" y="80"/>
                    <a:pt x="805" y="80"/>
                  </a:cubicBezTo>
                  <a:cubicBezTo>
                    <a:pt x="797" y="79"/>
                    <a:pt x="788" y="79"/>
                    <a:pt x="779" y="79"/>
                  </a:cubicBezTo>
                  <a:cubicBezTo>
                    <a:pt x="776" y="62"/>
                    <a:pt x="799" y="43"/>
                    <a:pt x="790" y="29"/>
                  </a:cubicBezTo>
                  <a:cubicBezTo>
                    <a:pt x="789" y="35"/>
                    <a:pt x="782" y="41"/>
                    <a:pt x="779" y="43"/>
                  </a:cubicBezTo>
                  <a:cubicBezTo>
                    <a:pt x="771" y="39"/>
                    <a:pt x="783" y="26"/>
                    <a:pt x="764" y="30"/>
                  </a:cubicBezTo>
                  <a:cubicBezTo>
                    <a:pt x="762" y="50"/>
                    <a:pt x="728" y="30"/>
                    <a:pt x="756" y="47"/>
                  </a:cubicBezTo>
                  <a:cubicBezTo>
                    <a:pt x="739" y="53"/>
                    <a:pt x="738" y="44"/>
                    <a:pt x="717" y="45"/>
                  </a:cubicBezTo>
                  <a:cubicBezTo>
                    <a:pt x="721" y="52"/>
                    <a:pt x="717" y="63"/>
                    <a:pt x="710" y="73"/>
                  </a:cubicBezTo>
                  <a:cubicBezTo>
                    <a:pt x="708" y="77"/>
                    <a:pt x="706" y="80"/>
                    <a:pt x="703" y="83"/>
                  </a:cubicBezTo>
                  <a:cubicBezTo>
                    <a:pt x="696" y="84"/>
                    <a:pt x="689" y="85"/>
                    <a:pt x="681" y="85"/>
                  </a:cubicBezTo>
                  <a:cubicBezTo>
                    <a:pt x="681" y="85"/>
                    <a:pt x="681" y="84"/>
                    <a:pt x="680" y="84"/>
                  </a:cubicBezTo>
                  <a:cubicBezTo>
                    <a:pt x="646" y="86"/>
                    <a:pt x="626" y="81"/>
                    <a:pt x="593" y="88"/>
                  </a:cubicBezTo>
                  <a:cubicBezTo>
                    <a:pt x="590" y="83"/>
                    <a:pt x="573" y="81"/>
                    <a:pt x="577" y="71"/>
                  </a:cubicBezTo>
                  <a:cubicBezTo>
                    <a:pt x="573" y="75"/>
                    <a:pt x="571" y="83"/>
                    <a:pt x="561" y="86"/>
                  </a:cubicBezTo>
                  <a:cubicBezTo>
                    <a:pt x="537" y="75"/>
                    <a:pt x="582" y="78"/>
                    <a:pt x="563" y="62"/>
                  </a:cubicBezTo>
                  <a:cubicBezTo>
                    <a:pt x="564" y="73"/>
                    <a:pt x="541" y="84"/>
                    <a:pt x="529" y="95"/>
                  </a:cubicBezTo>
                  <a:cubicBezTo>
                    <a:pt x="538" y="111"/>
                    <a:pt x="562" y="90"/>
                    <a:pt x="574" y="79"/>
                  </a:cubicBezTo>
                  <a:cubicBezTo>
                    <a:pt x="576" y="87"/>
                    <a:pt x="575" y="96"/>
                    <a:pt x="572" y="105"/>
                  </a:cubicBezTo>
                  <a:cubicBezTo>
                    <a:pt x="538" y="114"/>
                    <a:pt x="505" y="124"/>
                    <a:pt x="472" y="137"/>
                  </a:cubicBezTo>
                  <a:cubicBezTo>
                    <a:pt x="461" y="137"/>
                    <a:pt x="446" y="142"/>
                    <a:pt x="430" y="150"/>
                  </a:cubicBezTo>
                  <a:cubicBezTo>
                    <a:pt x="419" y="155"/>
                    <a:pt x="407" y="160"/>
                    <a:pt x="395" y="165"/>
                  </a:cubicBezTo>
                  <a:cubicBezTo>
                    <a:pt x="384" y="169"/>
                    <a:pt x="373" y="174"/>
                    <a:pt x="362" y="176"/>
                  </a:cubicBezTo>
                  <a:cubicBezTo>
                    <a:pt x="360" y="182"/>
                    <a:pt x="356" y="188"/>
                    <a:pt x="356" y="192"/>
                  </a:cubicBezTo>
                  <a:cubicBezTo>
                    <a:pt x="339" y="202"/>
                    <a:pt x="323" y="213"/>
                    <a:pt x="308" y="224"/>
                  </a:cubicBezTo>
                  <a:cubicBezTo>
                    <a:pt x="291" y="231"/>
                    <a:pt x="291" y="231"/>
                    <a:pt x="291" y="231"/>
                  </a:cubicBezTo>
                  <a:cubicBezTo>
                    <a:pt x="297" y="230"/>
                    <a:pt x="297" y="230"/>
                    <a:pt x="297" y="230"/>
                  </a:cubicBezTo>
                  <a:cubicBezTo>
                    <a:pt x="307" y="224"/>
                    <a:pt x="307" y="224"/>
                    <a:pt x="307" y="224"/>
                  </a:cubicBezTo>
                  <a:cubicBezTo>
                    <a:pt x="287" y="239"/>
                    <a:pt x="267" y="254"/>
                    <a:pt x="248" y="271"/>
                  </a:cubicBezTo>
                  <a:cubicBezTo>
                    <a:pt x="247" y="269"/>
                    <a:pt x="246" y="267"/>
                    <a:pt x="244" y="266"/>
                  </a:cubicBezTo>
                  <a:cubicBezTo>
                    <a:pt x="241" y="272"/>
                    <a:pt x="238" y="277"/>
                    <a:pt x="235" y="283"/>
                  </a:cubicBezTo>
                  <a:cubicBezTo>
                    <a:pt x="235" y="283"/>
                    <a:pt x="235" y="283"/>
                    <a:pt x="235" y="284"/>
                  </a:cubicBezTo>
                  <a:cubicBezTo>
                    <a:pt x="232" y="281"/>
                    <a:pt x="233" y="273"/>
                    <a:pt x="228" y="275"/>
                  </a:cubicBezTo>
                  <a:cubicBezTo>
                    <a:pt x="230" y="278"/>
                    <a:pt x="230" y="283"/>
                    <a:pt x="230" y="288"/>
                  </a:cubicBezTo>
                  <a:cubicBezTo>
                    <a:pt x="223" y="295"/>
                    <a:pt x="216" y="301"/>
                    <a:pt x="210" y="308"/>
                  </a:cubicBezTo>
                  <a:cubicBezTo>
                    <a:pt x="209" y="308"/>
                    <a:pt x="209" y="308"/>
                    <a:pt x="209" y="308"/>
                  </a:cubicBezTo>
                  <a:cubicBezTo>
                    <a:pt x="209" y="308"/>
                    <a:pt x="209" y="308"/>
                    <a:pt x="209" y="309"/>
                  </a:cubicBezTo>
                  <a:cubicBezTo>
                    <a:pt x="203" y="314"/>
                    <a:pt x="198" y="320"/>
                    <a:pt x="193" y="326"/>
                  </a:cubicBezTo>
                  <a:cubicBezTo>
                    <a:pt x="192" y="327"/>
                    <a:pt x="191" y="327"/>
                    <a:pt x="189" y="328"/>
                  </a:cubicBezTo>
                  <a:cubicBezTo>
                    <a:pt x="189" y="330"/>
                    <a:pt x="188" y="331"/>
                    <a:pt x="187" y="333"/>
                  </a:cubicBezTo>
                  <a:cubicBezTo>
                    <a:pt x="74" y="464"/>
                    <a:pt x="8" y="645"/>
                    <a:pt x="29" y="879"/>
                  </a:cubicBezTo>
                  <a:cubicBezTo>
                    <a:pt x="30" y="893"/>
                    <a:pt x="31" y="907"/>
                    <a:pt x="33" y="920"/>
                  </a:cubicBezTo>
                  <a:cubicBezTo>
                    <a:pt x="23" y="929"/>
                    <a:pt x="12" y="939"/>
                    <a:pt x="0" y="940"/>
                  </a:cubicBezTo>
                  <a:cubicBezTo>
                    <a:pt x="13" y="949"/>
                    <a:pt x="9" y="963"/>
                    <a:pt x="6" y="981"/>
                  </a:cubicBezTo>
                  <a:cubicBezTo>
                    <a:pt x="4" y="998"/>
                    <a:pt x="1" y="1019"/>
                    <a:pt x="26" y="1028"/>
                  </a:cubicBezTo>
                  <a:cubicBezTo>
                    <a:pt x="24" y="1037"/>
                    <a:pt x="15" y="1025"/>
                    <a:pt x="10" y="1032"/>
                  </a:cubicBezTo>
                  <a:cubicBezTo>
                    <a:pt x="25" y="1036"/>
                    <a:pt x="32" y="1044"/>
                    <a:pt x="36" y="1064"/>
                  </a:cubicBezTo>
                  <a:cubicBezTo>
                    <a:pt x="33" y="1064"/>
                    <a:pt x="33" y="1064"/>
                    <a:pt x="33" y="1064"/>
                  </a:cubicBezTo>
                  <a:cubicBezTo>
                    <a:pt x="36" y="1070"/>
                    <a:pt x="39" y="1076"/>
                    <a:pt x="42" y="1081"/>
                  </a:cubicBezTo>
                  <a:cubicBezTo>
                    <a:pt x="45" y="1087"/>
                    <a:pt x="48" y="1092"/>
                    <a:pt x="51" y="1097"/>
                  </a:cubicBezTo>
                  <a:cubicBezTo>
                    <a:pt x="57" y="1106"/>
                    <a:pt x="62" y="1116"/>
                    <a:pt x="66" y="1126"/>
                  </a:cubicBezTo>
                  <a:cubicBezTo>
                    <a:pt x="75" y="1146"/>
                    <a:pt x="87" y="1164"/>
                    <a:pt x="106" y="1191"/>
                  </a:cubicBezTo>
                  <a:cubicBezTo>
                    <a:pt x="113" y="1178"/>
                    <a:pt x="113" y="1178"/>
                    <a:pt x="113" y="1178"/>
                  </a:cubicBezTo>
                  <a:cubicBezTo>
                    <a:pt x="121" y="1189"/>
                    <a:pt x="119" y="1195"/>
                    <a:pt x="122" y="1202"/>
                  </a:cubicBezTo>
                  <a:cubicBezTo>
                    <a:pt x="147" y="1198"/>
                    <a:pt x="96" y="1173"/>
                    <a:pt x="122" y="1167"/>
                  </a:cubicBezTo>
                  <a:cubicBezTo>
                    <a:pt x="120" y="1175"/>
                    <a:pt x="123" y="1184"/>
                    <a:pt x="129" y="1192"/>
                  </a:cubicBezTo>
                  <a:cubicBezTo>
                    <a:pt x="135" y="1200"/>
                    <a:pt x="144" y="1208"/>
                    <a:pt x="153" y="1216"/>
                  </a:cubicBezTo>
                  <a:cubicBezTo>
                    <a:pt x="170" y="1231"/>
                    <a:pt x="186" y="1246"/>
                    <a:pt x="182" y="1262"/>
                  </a:cubicBezTo>
                  <a:cubicBezTo>
                    <a:pt x="199" y="1274"/>
                    <a:pt x="186" y="1245"/>
                    <a:pt x="203" y="1257"/>
                  </a:cubicBezTo>
                  <a:cubicBezTo>
                    <a:pt x="203" y="1267"/>
                    <a:pt x="203" y="1267"/>
                    <a:pt x="203" y="1267"/>
                  </a:cubicBezTo>
                  <a:cubicBezTo>
                    <a:pt x="214" y="1261"/>
                    <a:pt x="214" y="1261"/>
                    <a:pt x="214" y="1261"/>
                  </a:cubicBezTo>
                  <a:cubicBezTo>
                    <a:pt x="224" y="1270"/>
                    <a:pt x="224" y="1283"/>
                    <a:pt x="220" y="1289"/>
                  </a:cubicBezTo>
                  <a:cubicBezTo>
                    <a:pt x="218" y="1287"/>
                    <a:pt x="211" y="1286"/>
                    <a:pt x="208" y="1284"/>
                  </a:cubicBezTo>
                  <a:cubicBezTo>
                    <a:pt x="217" y="1304"/>
                    <a:pt x="253" y="1308"/>
                    <a:pt x="256" y="1313"/>
                  </a:cubicBezTo>
                  <a:cubicBezTo>
                    <a:pt x="241" y="1299"/>
                    <a:pt x="241" y="1299"/>
                    <a:pt x="241" y="1299"/>
                  </a:cubicBezTo>
                  <a:cubicBezTo>
                    <a:pt x="294" y="1320"/>
                    <a:pt x="352" y="1359"/>
                    <a:pt x="409" y="1359"/>
                  </a:cubicBezTo>
                  <a:cubicBezTo>
                    <a:pt x="407" y="1351"/>
                    <a:pt x="407" y="1351"/>
                    <a:pt x="407" y="1351"/>
                  </a:cubicBezTo>
                  <a:cubicBezTo>
                    <a:pt x="449" y="1352"/>
                    <a:pt x="435" y="1369"/>
                    <a:pt x="479" y="1375"/>
                  </a:cubicBezTo>
                  <a:cubicBezTo>
                    <a:pt x="477" y="1376"/>
                    <a:pt x="477" y="1376"/>
                    <a:pt x="477" y="1376"/>
                  </a:cubicBezTo>
                  <a:cubicBezTo>
                    <a:pt x="487" y="1372"/>
                    <a:pt x="500" y="1372"/>
                    <a:pt x="511" y="1375"/>
                  </a:cubicBezTo>
                  <a:cubicBezTo>
                    <a:pt x="498" y="1380"/>
                    <a:pt x="528" y="1395"/>
                    <a:pt x="512" y="1399"/>
                  </a:cubicBezTo>
                  <a:cubicBezTo>
                    <a:pt x="557" y="1396"/>
                    <a:pt x="535" y="1394"/>
                    <a:pt x="568" y="1376"/>
                  </a:cubicBezTo>
                  <a:cubicBezTo>
                    <a:pt x="572" y="1387"/>
                    <a:pt x="572" y="1387"/>
                    <a:pt x="572" y="1387"/>
                  </a:cubicBezTo>
                  <a:cubicBezTo>
                    <a:pt x="583" y="1380"/>
                    <a:pt x="585" y="1375"/>
                    <a:pt x="606" y="1376"/>
                  </a:cubicBezTo>
                  <a:cubicBezTo>
                    <a:pt x="588" y="1382"/>
                    <a:pt x="618" y="1395"/>
                    <a:pt x="596" y="1403"/>
                  </a:cubicBezTo>
                  <a:cubicBezTo>
                    <a:pt x="639" y="1433"/>
                    <a:pt x="666" y="1388"/>
                    <a:pt x="684" y="1424"/>
                  </a:cubicBezTo>
                  <a:cubicBezTo>
                    <a:pt x="707" y="1397"/>
                    <a:pt x="646" y="1404"/>
                    <a:pt x="658" y="1398"/>
                  </a:cubicBezTo>
                  <a:cubicBezTo>
                    <a:pt x="650" y="1387"/>
                    <a:pt x="677" y="1379"/>
                    <a:pt x="691" y="1382"/>
                  </a:cubicBezTo>
                  <a:cubicBezTo>
                    <a:pt x="705" y="1384"/>
                    <a:pt x="713" y="1422"/>
                    <a:pt x="750" y="1423"/>
                  </a:cubicBezTo>
                  <a:cubicBezTo>
                    <a:pt x="746" y="1423"/>
                    <a:pt x="746" y="1425"/>
                    <a:pt x="742" y="1425"/>
                  </a:cubicBezTo>
                  <a:cubicBezTo>
                    <a:pt x="756" y="1433"/>
                    <a:pt x="770" y="1416"/>
                    <a:pt x="787" y="1428"/>
                  </a:cubicBezTo>
                  <a:cubicBezTo>
                    <a:pt x="796" y="1409"/>
                    <a:pt x="809" y="1428"/>
                    <a:pt x="811" y="1405"/>
                  </a:cubicBezTo>
                  <a:cubicBezTo>
                    <a:pt x="778" y="1411"/>
                    <a:pt x="778" y="1411"/>
                    <a:pt x="778" y="1411"/>
                  </a:cubicBezTo>
                  <a:cubicBezTo>
                    <a:pt x="797" y="1405"/>
                    <a:pt x="814" y="1378"/>
                    <a:pt x="845" y="1390"/>
                  </a:cubicBezTo>
                  <a:cubicBezTo>
                    <a:pt x="843" y="1395"/>
                    <a:pt x="834" y="1401"/>
                    <a:pt x="827" y="1405"/>
                  </a:cubicBezTo>
                  <a:cubicBezTo>
                    <a:pt x="837" y="1411"/>
                    <a:pt x="845" y="1400"/>
                    <a:pt x="855" y="1406"/>
                  </a:cubicBezTo>
                  <a:cubicBezTo>
                    <a:pt x="853" y="1430"/>
                    <a:pt x="814" y="1412"/>
                    <a:pt x="794" y="1430"/>
                  </a:cubicBezTo>
                  <a:cubicBezTo>
                    <a:pt x="804" y="1440"/>
                    <a:pt x="833" y="1413"/>
                    <a:pt x="823" y="1438"/>
                  </a:cubicBezTo>
                  <a:cubicBezTo>
                    <a:pt x="837" y="1407"/>
                    <a:pt x="860" y="1441"/>
                    <a:pt x="883" y="1415"/>
                  </a:cubicBezTo>
                  <a:cubicBezTo>
                    <a:pt x="883" y="1428"/>
                    <a:pt x="883" y="1428"/>
                    <a:pt x="883" y="1428"/>
                  </a:cubicBezTo>
                  <a:cubicBezTo>
                    <a:pt x="887" y="1426"/>
                    <a:pt x="894" y="1419"/>
                    <a:pt x="902" y="1419"/>
                  </a:cubicBezTo>
                  <a:cubicBezTo>
                    <a:pt x="890" y="1438"/>
                    <a:pt x="890" y="1438"/>
                    <a:pt x="890" y="1438"/>
                  </a:cubicBezTo>
                  <a:cubicBezTo>
                    <a:pt x="909" y="1421"/>
                    <a:pt x="931" y="1448"/>
                    <a:pt x="950" y="1437"/>
                  </a:cubicBezTo>
                  <a:cubicBezTo>
                    <a:pt x="909" y="1443"/>
                    <a:pt x="939" y="1421"/>
                    <a:pt x="920" y="1413"/>
                  </a:cubicBezTo>
                  <a:cubicBezTo>
                    <a:pt x="967" y="1389"/>
                    <a:pt x="954" y="1443"/>
                    <a:pt x="1006" y="1431"/>
                  </a:cubicBezTo>
                  <a:cubicBezTo>
                    <a:pt x="997" y="1432"/>
                    <a:pt x="981" y="1426"/>
                    <a:pt x="991" y="1419"/>
                  </a:cubicBezTo>
                  <a:cubicBezTo>
                    <a:pt x="1002" y="1420"/>
                    <a:pt x="1017" y="1423"/>
                    <a:pt x="1025" y="1428"/>
                  </a:cubicBezTo>
                  <a:cubicBezTo>
                    <a:pt x="1062" y="1417"/>
                    <a:pt x="1016" y="1415"/>
                    <a:pt x="1031" y="1404"/>
                  </a:cubicBezTo>
                  <a:cubicBezTo>
                    <a:pt x="1047" y="1417"/>
                    <a:pt x="1047" y="1393"/>
                    <a:pt x="1062" y="1384"/>
                  </a:cubicBezTo>
                  <a:cubicBezTo>
                    <a:pt x="1065" y="1398"/>
                    <a:pt x="1065" y="1398"/>
                    <a:pt x="1065" y="1398"/>
                  </a:cubicBezTo>
                  <a:cubicBezTo>
                    <a:pt x="1110" y="1397"/>
                    <a:pt x="1069" y="1367"/>
                    <a:pt x="1109" y="1368"/>
                  </a:cubicBezTo>
                  <a:cubicBezTo>
                    <a:pt x="1098" y="1391"/>
                    <a:pt x="1098" y="1391"/>
                    <a:pt x="1098" y="1391"/>
                  </a:cubicBezTo>
                  <a:cubicBezTo>
                    <a:pt x="1117" y="1380"/>
                    <a:pt x="1117" y="1380"/>
                    <a:pt x="1117" y="1380"/>
                  </a:cubicBezTo>
                  <a:cubicBezTo>
                    <a:pt x="1117" y="1397"/>
                    <a:pt x="1117" y="1397"/>
                    <a:pt x="1117" y="1397"/>
                  </a:cubicBezTo>
                  <a:cubicBezTo>
                    <a:pt x="1135" y="1379"/>
                    <a:pt x="1142" y="1380"/>
                    <a:pt x="1165" y="1378"/>
                  </a:cubicBezTo>
                  <a:cubicBezTo>
                    <a:pt x="1157" y="1370"/>
                    <a:pt x="1159" y="1353"/>
                    <a:pt x="1176" y="1346"/>
                  </a:cubicBezTo>
                  <a:cubicBezTo>
                    <a:pt x="1191" y="1349"/>
                    <a:pt x="1174" y="1361"/>
                    <a:pt x="1199" y="1349"/>
                  </a:cubicBezTo>
                  <a:cubicBezTo>
                    <a:pt x="1196" y="1359"/>
                    <a:pt x="1194" y="1372"/>
                    <a:pt x="1178" y="1365"/>
                  </a:cubicBezTo>
                  <a:cubicBezTo>
                    <a:pt x="1179" y="1369"/>
                    <a:pt x="1176" y="1375"/>
                    <a:pt x="1176" y="1380"/>
                  </a:cubicBezTo>
                  <a:cubicBezTo>
                    <a:pt x="1193" y="1384"/>
                    <a:pt x="1210" y="1369"/>
                    <a:pt x="1220" y="1365"/>
                  </a:cubicBezTo>
                  <a:cubicBezTo>
                    <a:pt x="1216" y="1366"/>
                    <a:pt x="1211" y="1367"/>
                    <a:pt x="1208" y="1366"/>
                  </a:cubicBezTo>
                  <a:cubicBezTo>
                    <a:pt x="1218" y="1355"/>
                    <a:pt x="1228" y="1344"/>
                    <a:pt x="1238" y="1333"/>
                  </a:cubicBezTo>
                  <a:cubicBezTo>
                    <a:pt x="1245" y="1335"/>
                    <a:pt x="1243" y="1341"/>
                    <a:pt x="1240" y="1347"/>
                  </a:cubicBezTo>
                  <a:cubicBezTo>
                    <a:pt x="1247" y="1342"/>
                    <a:pt x="1249" y="1334"/>
                    <a:pt x="1259" y="1327"/>
                  </a:cubicBezTo>
                  <a:cubicBezTo>
                    <a:pt x="1261" y="1339"/>
                    <a:pt x="1267" y="1349"/>
                    <a:pt x="1254" y="1362"/>
                  </a:cubicBezTo>
                  <a:cubicBezTo>
                    <a:pt x="1283" y="1333"/>
                    <a:pt x="1283" y="1333"/>
                    <a:pt x="1283" y="1333"/>
                  </a:cubicBezTo>
                  <a:cubicBezTo>
                    <a:pt x="1288" y="1337"/>
                    <a:pt x="1307" y="1336"/>
                    <a:pt x="1305" y="1342"/>
                  </a:cubicBezTo>
                  <a:cubicBezTo>
                    <a:pt x="1328" y="1339"/>
                    <a:pt x="1340" y="1296"/>
                    <a:pt x="1369" y="1288"/>
                  </a:cubicBezTo>
                  <a:cubicBezTo>
                    <a:pt x="1369" y="1286"/>
                    <a:pt x="1370" y="1282"/>
                    <a:pt x="1375" y="1278"/>
                  </a:cubicBezTo>
                  <a:cubicBezTo>
                    <a:pt x="1398" y="1264"/>
                    <a:pt x="1426" y="1259"/>
                    <a:pt x="1441" y="1227"/>
                  </a:cubicBezTo>
                  <a:cubicBezTo>
                    <a:pt x="1468" y="1228"/>
                    <a:pt x="1468" y="1228"/>
                    <a:pt x="1468" y="1228"/>
                  </a:cubicBezTo>
                  <a:cubicBezTo>
                    <a:pt x="1484" y="1207"/>
                    <a:pt x="1433" y="1228"/>
                    <a:pt x="1458" y="1192"/>
                  </a:cubicBezTo>
                  <a:cubicBezTo>
                    <a:pt x="1474" y="1166"/>
                    <a:pt x="1478" y="1196"/>
                    <a:pt x="1490" y="1192"/>
                  </a:cubicBezTo>
                  <a:cubicBezTo>
                    <a:pt x="1494" y="1175"/>
                    <a:pt x="1492" y="1141"/>
                    <a:pt x="1522" y="1129"/>
                  </a:cubicBezTo>
                  <a:cubicBezTo>
                    <a:pt x="1520" y="1139"/>
                    <a:pt x="1513" y="1143"/>
                    <a:pt x="1509" y="1150"/>
                  </a:cubicBezTo>
                  <a:cubicBezTo>
                    <a:pt x="1531" y="1140"/>
                    <a:pt x="1531" y="1140"/>
                    <a:pt x="1531" y="1140"/>
                  </a:cubicBezTo>
                  <a:cubicBezTo>
                    <a:pt x="1530" y="1172"/>
                    <a:pt x="1513" y="1184"/>
                    <a:pt x="1538" y="1177"/>
                  </a:cubicBezTo>
                  <a:cubicBezTo>
                    <a:pt x="1524" y="1164"/>
                    <a:pt x="1536" y="1146"/>
                    <a:pt x="1548" y="1128"/>
                  </a:cubicBezTo>
                  <a:cubicBezTo>
                    <a:pt x="1560" y="1111"/>
                    <a:pt x="1568" y="1090"/>
                    <a:pt x="1552" y="1080"/>
                  </a:cubicBezTo>
                  <a:cubicBezTo>
                    <a:pt x="1566" y="1071"/>
                    <a:pt x="1566" y="1071"/>
                    <a:pt x="1566" y="1071"/>
                  </a:cubicBezTo>
                  <a:cubicBezTo>
                    <a:pt x="1564" y="1075"/>
                    <a:pt x="1566" y="1077"/>
                    <a:pt x="1563" y="1080"/>
                  </a:cubicBezTo>
                  <a:cubicBezTo>
                    <a:pt x="1578" y="1072"/>
                    <a:pt x="1575" y="1064"/>
                    <a:pt x="1570" y="1055"/>
                  </a:cubicBezTo>
                  <a:cubicBezTo>
                    <a:pt x="1565" y="1045"/>
                    <a:pt x="1560" y="1035"/>
                    <a:pt x="1568" y="1020"/>
                  </a:cubicBezTo>
                  <a:cubicBezTo>
                    <a:pt x="1575" y="1011"/>
                    <a:pt x="1583" y="1005"/>
                    <a:pt x="1585" y="1014"/>
                  </a:cubicBezTo>
                  <a:cubicBezTo>
                    <a:pt x="1585" y="985"/>
                    <a:pt x="1585" y="985"/>
                    <a:pt x="1585" y="985"/>
                  </a:cubicBezTo>
                  <a:cubicBezTo>
                    <a:pt x="1589" y="978"/>
                    <a:pt x="1595" y="982"/>
                    <a:pt x="1591" y="989"/>
                  </a:cubicBezTo>
                  <a:cubicBezTo>
                    <a:pt x="1595" y="976"/>
                    <a:pt x="1599" y="963"/>
                    <a:pt x="1601" y="949"/>
                  </a:cubicBezTo>
                  <a:cubicBezTo>
                    <a:pt x="1602" y="950"/>
                    <a:pt x="1602" y="950"/>
                    <a:pt x="1602" y="950"/>
                  </a:cubicBezTo>
                  <a:cubicBezTo>
                    <a:pt x="1597" y="942"/>
                    <a:pt x="1591" y="927"/>
                    <a:pt x="1588" y="920"/>
                  </a:cubicBezTo>
                  <a:cubicBezTo>
                    <a:pt x="1596" y="912"/>
                    <a:pt x="1591" y="926"/>
                    <a:pt x="1596" y="925"/>
                  </a:cubicBezTo>
                  <a:cubicBezTo>
                    <a:pt x="1592" y="901"/>
                    <a:pt x="1592" y="901"/>
                    <a:pt x="1592" y="901"/>
                  </a:cubicBezTo>
                  <a:cubicBezTo>
                    <a:pt x="1604" y="894"/>
                    <a:pt x="1610" y="914"/>
                    <a:pt x="1605" y="929"/>
                  </a:cubicBezTo>
                  <a:cubicBezTo>
                    <a:pt x="1626" y="923"/>
                    <a:pt x="1625" y="918"/>
                    <a:pt x="1622" y="909"/>
                  </a:cubicBezTo>
                  <a:cubicBezTo>
                    <a:pt x="1619" y="900"/>
                    <a:pt x="1617" y="889"/>
                    <a:pt x="1629" y="868"/>
                  </a:cubicBezTo>
                  <a:cubicBezTo>
                    <a:pt x="1630" y="875"/>
                    <a:pt x="1632" y="882"/>
                    <a:pt x="1632" y="890"/>
                  </a:cubicBezTo>
                  <a:cubicBezTo>
                    <a:pt x="1656" y="879"/>
                    <a:pt x="1649" y="861"/>
                    <a:pt x="1665" y="836"/>
                  </a:cubicBezTo>
                  <a:cubicBezTo>
                    <a:pt x="1657" y="843"/>
                    <a:pt x="1626" y="883"/>
                    <a:pt x="1618" y="857"/>
                  </a:cubicBezTo>
                  <a:close/>
                  <a:moveTo>
                    <a:pt x="1500" y="445"/>
                  </a:moveTo>
                  <a:cubicBezTo>
                    <a:pt x="1497" y="441"/>
                    <a:pt x="1494" y="436"/>
                    <a:pt x="1494" y="428"/>
                  </a:cubicBezTo>
                  <a:cubicBezTo>
                    <a:pt x="1500" y="430"/>
                    <a:pt x="1502" y="436"/>
                    <a:pt x="1500" y="445"/>
                  </a:cubicBezTo>
                  <a:close/>
                  <a:moveTo>
                    <a:pt x="1620" y="880"/>
                  </a:moveTo>
                  <a:cubicBezTo>
                    <a:pt x="1605" y="871"/>
                    <a:pt x="1613" y="867"/>
                    <a:pt x="1618" y="857"/>
                  </a:cubicBezTo>
                  <a:cubicBezTo>
                    <a:pt x="1620" y="864"/>
                    <a:pt x="1628" y="877"/>
                    <a:pt x="1620" y="88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6" name="Freeform 31">
              <a:extLst>
                <a:ext uri="{FF2B5EF4-FFF2-40B4-BE49-F238E27FC236}">
                  <a16:creationId xmlns:a16="http://schemas.microsoft.com/office/drawing/2014/main" id="{7D803C9E-2878-43CF-9690-56BFCB7F85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8" y="1551"/>
              <a:ext cx="15" cy="16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6 h 7"/>
                <a:gd name="T4" fmla="*/ 6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5" y="3"/>
                    <a:pt x="3" y="4"/>
                    <a:pt x="0" y="6"/>
                  </a:cubicBezTo>
                  <a:cubicBezTo>
                    <a:pt x="3" y="7"/>
                    <a:pt x="6" y="6"/>
                    <a:pt x="6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7" name="Freeform 32">
              <a:extLst>
                <a:ext uri="{FF2B5EF4-FFF2-40B4-BE49-F238E27FC236}">
                  <a16:creationId xmlns:a16="http://schemas.microsoft.com/office/drawing/2014/main" id="{E0A2E188-A75E-4798-8358-D4D7E60413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3" y="3490"/>
              <a:ext cx="3" cy="7"/>
            </a:xfrm>
            <a:custGeom>
              <a:avLst/>
              <a:gdLst>
                <a:gd name="T0" fmla="*/ 0 w 1"/>
                <a:gd name="T1" fmla="*/ 0 h 3"/>
                <a:gd name="T2" fmla="*/ 1 w 1"/>
                <a:gd name="T3" fmla="*/ 3 h 3"/>
                <a:gd name="T4" fmla="*/ 1 w 1"/>
                <a:gd name="T5" fmla="*/ 0 h 3"/>
                <a:gd name="T6" fmla="*/ 0 w 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8" name="Freeform 33">
              <a:extLst>
                <a:ext uri="{FF2B5EF4-FFF2-40B4-BE49-F238E27FC236}">
                  <a16:creationId xmlns:a16="http://schemas.microsoft.com/office/drawing/2014/main" id="{E1D56BC3-FD45-4357-9E6F-F5D9E89A40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1" y="507"/>
              <a:ext cx="26" cy="17"/>
            </a:xfrm>
            <a:custGeom>
              <a:avLst/>
              <a:gdLst>
                <a:gd name="T0" fmla="*/ 0 w 11"/>
                <a:gd name="T1" fmla="*/ 0 h 7"/>
                <a:gd name="T2" fmla="*/ 11 w 11"/>
                <a:gd name="T3" fmla="*/ 7 h 7"/>
                <a:gd name="T4" fmla="*/ 0 w 1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cubicBezTo>
                    <a:pt x="6" y="2"/>
                    <a:pt x="9" y="5"/>
                    <a:pt x="11" y="7"/>
                  </a:cubicBezTo>
                  <a:cubicBezTo>
                    <a:pt x="11" y="4"/>
                    <a:pt x="9" y="1"/>
                    <a:pt x="0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9" name="Freeform 34">
              <a:extLst>
                <a:ext uri="{FF2B5EF4-FFF2-40B4-BE49-F238E27FC236}">
                  <a16:creationId xmlns:a16="http://schemas.microsoft.com/office/drawing/2014/main" id="{5DD7A972-D318-445A-8582-C35D687DCC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" y="703"/>
              <a:ext cx="31" cy="40"/>
            </a:xfrm>
            <a:custGeom>
              <a:avLst/>
              <a:gdLst>
                <a:gd name="T0" fmla="*/ 7 w 13"/>
                <a:gd name="T1" fmla="*/ 0 h 17"/>
                <a:gd name="T2" fmla="*/ 0 w 13"/>
                <a:gd name="T3" fmla="*/ 10 h 17"/>
                <a:gd name="T4" fmla="*/ 13 w 13"/>
                <a:gd name="T5" fmla="*/ 17 h 17"/>
                <a:gd name="T6" fmla="*/ 7 w 13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7">
                  <a:moveTo>
                    <a:pt x="7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6" y="11"/>
                    <a:pt x="8" y="14"/>
                    <a:pt x="13" y="17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0" name="Freeform 35">
              <a:extLst>
                <a:ext uri="{FF2B5EF4-FFF2-40B4-BE49-F238E27FC236}">
                  <a16:creationId xmlns:a16="http://schemas.microsoft.com/office/drawing/2014/main" id="{86A6F357-C5AD-4150-A526-5899A0BCA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2" y="618"/>
              <a:ext cx="104" cy="56"/>
            </a:xfrm>
            <a:custGeom>
              <a:avLst/>
              <a:gdLst>
                <a:gd name="T0" fmla="*/ 19 w 44"/>
                <a:gd name="T1" fmla="*/ 22 h 24"/>
                <a:gd name="T2" fmla="*/ 19 w 44"/>
                <a:gd name="T3" fmla="*/ 8 h 24"/>
                <a:gd name="T4" fmla="*/ 19 w 44"/>
                <a:gd name="T5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4">
                  <a:moveTo>
                    <a:pt x="19" y="22"/>
                  </a:moveTo>
                  <a:cubicBezTo>
                    <a:pt x="20" y="17"/>
                    <a:pt x="44" y="0"/>
                    <a:pt x="19" y="8"/>
                  </a:cubicBezTo>
                  <a:cubicBezTo>
                    <a:pt x="18" y="13"/>
                    <a:pt x="0" y="24"/>
                    <a:pt x="19" y="22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1" name="Freeform 36">
              <a:extLst>
                <a:ext uri="{FF2B5EF4-FFF2-40B4-BE49-F238E27FC236}">
                  <a16:creationId xmlns:a16="http://schemas.microsoft.com/office/drawing/2014/main" id="{5A9E10BF-F739-4BF7-A3BD-970DA1F69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5" y="533"/>
              <a:ext cx="90" cy="85"/>
            </a:xfrm>
            <a:custGeom>
              <a:avLst/>
              <a:gdLst>
                <a:gd name="T0" fmla="*/ 16 w 38"/>
                <a:gd name="T1" fmla="*/ 32 h 36"/>
                <a:gd name="T2" fmla="*/ 7 w 38"/>
                <a:gd name="T3" fmla="*/ 33 h 36"/>
                <a:gd name="T4" fmla="*/ 16 w 38"/>
                <a:gd name="T5" fmla="*/ 32 h 36"/>
                <a:gd name="T6" fmla="*/ 16 w 38"/>
                <a:gd name="T7" fmla="*/ 32 h 36"/>
                <a:gd name="T8" fmla="*/ 38 w 38"/>
                <a:gd name="T9" fmla="*/ 15 h 36"/>
                <a:gd name="T10" fmla="*/ 8 w 38"/>
                <a:gd name="T11" fmla="*/ 15 h 36"/>
                <a:gd name="T12" fmla="*/ 16 w 38"/>
                <a:gd name="T13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6">
                  <a:moveTo>
                    <a:pt x="16" y="32"/>
                  </a:moveTo>
                  <a:cubicBezTo>
                    <a:pt x="13" y="32"/>
                    <a:pt x="10" y="32"/>
                    <a:pt x="7" y="33"/>
                  </a:cubicBezTo>
                  <a:cubicBezTo>
                    <a:pt x="12" y="33"/>
                    <a:pt x="14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32" y="29"/>
                    <a:pt x="38" y="36"/>
                    <a:pt x="38" y="15"/>
                  </a:cubicBezTo>
                  <a:cubicBezTo>
                    <a:pt x="16" y="0"/>
                    <a:pt x="27" y="30"/>
                    <a:pt x="8" y="15"/>
                  </a:cubicBezTo>
                  <a:cubicBezTo>
                    <a:pt x="0" y="20"/>
                    <a:pt x="23" y="28"/>
                    <a:pt x="16" y="32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2" name="Freeform 37">
              <a:extLst>
                <a:ext uri="{FF2B5EF4-FFF2-40B4-BE49-F238E27FC236}">
                  <a16:creationId xmlns:a16="http://schemas.microsoft.com/office/drawing/2014/main" id="{1B6C1EA3-91D5-4463-B059-FB52E39296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" y="2366"/>
              <a:ext cx="26" cy="36"/>
            </a:xfrm>
            <a:custGeom>
              <a:avLst/>
              <a:gdLst>
                <a:gd name="T0" fmla="*/ 11 w 11"/>
                <a:gd name="T1" fmla="*/ 1 h 15"/>
                <a:gd name="T2" fmla="*/ 7 w 11"/>
                <a:gd name="T3" fmla="*/ 0 h 15"/>
                <a:gd name="T4" fmla="*/ 0 w 11"/>
                <a:gd name="T5" fmla="*/ 15 h 15"/>
                <a:gd name="T6" fmla="*/ 11 w 11"/>
                <a:gd name="T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5">
                  <a:moveTo>
                    <a:pt x="11" y="1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2" y="3"/>
                    <a:pt x="1" y="7"/>
                    <a:pt x="0" y="15"/>
                  </a:cubicBezTo>
                  <a:lnTo>
                    <a:pt x="11" y="1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3" name="Freeform 38">
              <a:extLst>
                <a:ext uri="{FF2B5EF4-FFF2-40B4-BE49-F238E27FC236}">
                  <a16:creationId xmlns:a16="http://schemas.microsoft.com/office/drawing/2014/main" id="{B2CACC82-0261-4399-9344-881560EB7D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4" y="2901"/>
              <a:ext cx="45" cy="10"/>
            </a:xfrm>
            <a:custGeom>
              <a:avLst/>
              <a:gdLst>
                <a:gd name="T0" fmla="*/ 40 w 45"/>
                <a:gd name="T1" fmla="*/ 10 h 10"/>
                <a:gd name="T2" fmla="*/ 45 w 45"/>
                <a:gd name="T3" fmla="*/ 0 h 10"/>
                <a:gd name="T4" fmla="*/ 0 w 45"/>
                <a:gd name="T5" fmla="*/ 0 h 10"/>
                <a:gd name="T6" fmla="*/ 40 w 45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0">
                  <a:moveTo>
                    <a:pt x="40" y="1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40" y="1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4" name="Freeform 39">
              <a:extLst>
                <a:ext uri="{FF2B5EF4-FFF2-40B4-BE49-F238E27FC236}">
                  <a16:creationId xmlns:a16="http://schemas.microsoft.com/office/drawing/2014/main" id="{581357D3-0D18-4ECB-91DD-29E03C2B3A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3" y="3283"/>
              <a:ext cx="80" cy="47"/>
            </a:xfrm>
            <a:custGeom>
              <a:avLst/>
              <a:gdLst>
                <a:gd name="T0" fmla="*/ 17 w 34"/>
                <a:gd name="T1" fmla="*/ 20 h 20"/>
                <a:gd name="T2" fmla="*/ 34 w 34"/>
                <a:gd name="T3" fmla="*/ 0 h 20"/>
                <a:gd name="T4" fmla="*/ 17 w 34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20">
                  <a:moveTo>
                    <a:pt x="17" y="20"/>
                  </a:moveTo>
                  <a:cubicBezTo>
                    <a:pt x="24" y="15"/>
                    <a:pt x="28" y="5"/>
                    <a:pt x="34" y="0"/>
                  </a:cubicBezTo>
                  <a:cubicBezTo>
                    <a:pt x="24" y="15"/>
                    <a:pt x="0" y="7"/>
                    <a:pt x="17" y="2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1175"/>
            <a:ext cx="2542458" cy="184666"/>
            <a:chOff x="446350" y="398130"/>
            <a:chExt cx="2744144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40084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398130"/>
              <a:ext cx="2666184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079" name="Text Placeholder 2078">
            <a:extLst>
              <a:ext uri="{FF2B5EF4-FFF2-40B4-BE49-F238E27FC236}">
                <a16:creationId xmlns:a16="http://schemas.microsoft.com/office/drawing/2014/main" id="{F1F208CA-9DC3-4DD5-B773-E3D0D8596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6228" y="5260424"/>
            <a:ext cx="6512385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73" name="Text Placeholder 2078">
            <a:extLst>
              <a:ext uri="{FF2B5EF4-FFF2-40B4-BE49-F238E27FC236}">
                <a16:creationId xmlns:a16="http://schemas.microsoft.com/office/drawing/2014/main" id="{E5ECC410-2706-40FE-B857-619CE0A892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6227" y="5767077"/>
            <a:ext cx="6512385" cy="290660"/>
          </a:xfrm>
        </p:spPr>
        <p:txBody>
          <a:bodyPr wrap="none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Presenter’s name goes here</a:t>
            </a:r>
          </a:p>
        </p:txBody>
      </p:sp>
      <p:grpSp>
        <p:nvGrpSpPr>
          <p:cNvPr id="80" name="Group 4">
            <a:extLst>
              <a:ext uri="{FF2B5EF4-FFF2-40B4-BE49-F238E27FC236}">
                <a16:creationId xmlns:a16="http://schemas.microsoft.com/office/drawing/2014/main" id="{1B568CDD-A995-4CE1-BC96-4A7C1005C1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2544553"/>
            <a:ext cx="729092" cy="770642"/>
            <a:chOff x="1841" y="2"/>
            <a:chExt cx="4000" cy="4318"/>
          </a:xfrm>
          <a:solidFill>
            <a:schemeClr val="bg1"/>
          </a:solidFill>
        </p:grpSpPr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59ED2881-2F39-4BAD-A794-16314B4479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77969BF3-D7B1-42CE-B7AE-F16F87C2E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92667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br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9233E"/>
                </a:solidFill>
              </a:defRPr>
            </a:lvl1pPr>
          </a:lstStyle>
          <a:p>
            <a:r>
              <a:rPr lang="en-US" dirty="0"/>
              <a:t>Icon library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rgbClr val="19233E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6C470DB-CE14-0F44-A883-000386E41C10}"/>
              </a:ext>
            </a:extLst>
          </p:cNvPr>
          <p:cNvGrpSpPr/>
          <p:nvPr userDrawn="1"/>
        </p:nvGrpSpPr>
        <p:grpSpPr>
          <a:xfrm>
            <a:off x="10518421" y="1167244"/>
            <a:ext cx="3197579" cy="1218944"/>
            <a:chOff x="6806300" y="1552689"/>
            <a:chExt cx="1916030" cy="1331849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9AE8794-8D43-F849-9F46-E373881B8FBA}"/>
                </a:ext>
              </a:extLst>
            </p:cNvPr>
            <p:cNvSpPr/>
            <p:nvPr/>
          </p:nvSpPr>
          <p:spPr>
            <a:xfrm>
              <a:off x="6948009" y="1918581"/>
              <a:ext cx="1774321" cy="965957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You can place images,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 text or icons into the circle placeholders. You may need to lower the text size if your wording does not fit.</a:t>
              </a:r>
              <a:endParaRPr lang="en-US" sz="12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48" name="Triangle 47">
              <a:extLst>
                <a:ext uri="{FF2B5EF4-FFF2-40B4-BE49-F238E27FC236}">
                  <a16:creationId xmlns:a16="http://schemas.microsoft.com/office/drawing/2014/main" id="{B89588F1-8F01-B94B-B415-BA90136A7781}"/>
                </a:ext>
              </a:extLst>
            </p:cNvPr>
            <p:cNvSpPr/>
            <p:nvPr/>
          </p:nvSpPr>
          <p:spPr>
            <a:xfrm rot="16200000" flipH="1">
              <a:off x="6709054" y="2015828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C025EEA-E2CA-C545-83CC-7C858D901791}"/>
                </a:ext>
              </a:extLst>
            </p:cNvPr>
            <p:cNvSpPr/>
            <p:nvPr/>
          </p:nvSpPr>
          <p:spPr>
            <a:xfrm>
              <a:off x="6948007" y="1552689"/>
              <a:ext cx="1774323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INFOGRAPHIC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B2828E6-880E-BA4A-9D2F-65573B923149}"/>
              </a:ext>
            </a:extLst>
          </p:cNvPr>
          <p:cNvGrpSpPr/>
          <p:nvPr userDrawn="1"/>
        </p:nvGrpSpPr>
        <p:grpSpPr>
          <a:xfrm>
            <a:off x="-3416300" y="1257300"/>
            <a:ext cx="2963613" cy="1359893"/>
            <a:chOff x="6947601" y="1552689"/>
            <a:chExt cx="1916432" cy="158493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27750E0-DC57-AD41-8377-46AC36E634BB}"/>
                </a:ext>
              </a:extLst>
            </p:cNvPr>
            <p:cNvSpPr/>
            <p:nvPr/>
          </p:nvSpPr>
          <p:spPr>
            <a:xfrm>
              <a:off x="6947601" y="1892027"/>
              <a:ext cx="1774322" cy="1245593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Copy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 and paste (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Ctrl + C 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&amp;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Ctrl + V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) icons. Once you’ve pasted in the icon and it is still selected, select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Shape Fill 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in your toolbar &gt; 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</a:rPr>
                <a:t>No Fill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</a:rPr>
                <a:t>.</a:t>
              </a:r>
              <a:endParaRPr lang="en-US" sz="12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2" name="Triangle 51">
              <a:extLst>
                <a:ext uri="{FF2B5EF4-FFF2-40B4-BE49-F238E27FC236}">
                  <a16:creationId xmlns:a16="http://schemas.microsoft.com/office/drawing/2014/main" id="{D61E7157-2D4B-4545-B3AE-7981FC595801}"/>
                </a:ext>
              </a:extLst>
            </p:cNvPr>
            <p:cNvSpPr/>
            <p:nvPr/>
          </p:nvSpPr>
          <p:spPr>
            <a:xfrm rot="5400000">
              <a:off x="8625082" y="2011812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16F3199-1785-C94A-B998-E973F767C049}"/>
                </a:ext>
              </a:extLst>
            </p:cNvPr>
            <p:cNvSpPr/>
            <p:nvPr/>
          </p:nvSpPr>
          <p:spPr>
            <a:xfrm>
              <a:off x="6955408" y="1552689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PLACING ICONS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654164E-4723-7940-AD94-4DD78C4B1422}"/>
              </a:ext>
            </a:extLst>
          </p:cNvPr>
          <p:cNvGrpSpPr/>
          <p:nvPr userDrawn="1"/>
        </p:nvGrpSpPr>
        <p:grpSpPr>
          <a:xfrm>
            <a:off x="-3392827" y="3252778"/>
            <a:ext cx="2938644" cy="1115666"/>
            <a:chOff x="6955408" y="1552689"/>
            <a:chExt cx="1907861" cy="980665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B436270-A08A-2D4D-ABBE-FE9734C73497}"/>
                </a:ext>
              </a:extLst>
            </p:cNvPr>
            <p:cNvSpPr/>
            <p:nvPr/>
          </p:nvSpPr>
          <p:spPr>
            <a:xfrm>
              <a:off x="6955408" y="1918581"/>
              <a:ext cx="1774322" cy="614773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Avoid scaling icons to different sizes, this will ensure consistency across your presentation.</a:t>
              </a:r>
            </a:p>
          </p:txBody>
        </p:sp>
        <p:sp>
          <p:nvSpPr>
            <p:cNvPr id="56" name="Triangle 55">
              <a:extLst>
                <a:ext uri="{FF2B5EF4-FFF2-40B4-BE49-F238E27FC236}">
                  <a16:creationId xmlns:a16="http://schemas.microsoft.com/office/drawing/2014/main" id="{B8AD5FED-0063-4D48-BDCB-DCE348FA4DD3}"/>
                </a:ext>
              </a:extLst>
            </p:cNvPr>
            <p:cNvSpPr/>
            <p:nvPr/>
          </p:nvSpPr>
          <p:spPr>
            <a:xfrm rot="5400000">
              <a:off x="8624318" y="2031469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65A15C3-E8FD-AD48-AF4B-C283961DCF2E}"/>
                </a:ext>
              </a:extLst>
            </p:cNvPr>
            <p:cNvSpPr/>
            <p:nvPr/>
          </p:nvSpPr>
          <p:spPr>
            <a:xfrm>
              <a:off x="6955408" y="1552689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ICON SIZING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sp>
        <p:nvSpPr>
          <p:cNvPr id="58" name="Footer Placeholder 3">
            <a:extLst>
              <a:ext uri="{FF2B5EF4-FFF2-40B4-BE49-F238E27FC236}">
                <a16:creationId xmlns:a16="http://schemas.microsoft.com/office/drawing/2014/main" id="{7B02F20A-E8AC-584C-8F98-25FA0E32D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6051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9233E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9" y="1881187"/>
            <a:ext cx="447000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19233E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rgbClr val="19233E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rgbClr val="19233E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rgbClr val="19233E"/>
                </a:solidFill>
              </a:defRPr>
            </a:lvl4pPr>
            <a:lvl5pPr>
              <a:defRPr>
                <a:solidFill>
                  <a:srgbClr val="19233E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16998" y="1881187"/>
            <a:ext cx="4470000" cy="4030633"/>
          </a:xfrm>
        </p:spPr>
        <p:txBody>
          <a:bodyPr>
            <a:noAutofit/>
          </a:bodyPr>
          <a:lstStyle>
            <a:lvl1pPr>
              <a:defRPr>
                <a:solidFill>
                  <a:srgbClr val="19233E"/>
                </a:solidFill>
              </a:defRPr>
            </a:lvl1pPr>
            <a:lvl2pPr>
              <a:defRPr>
                <a:solidFill>
                  <a:srgbClr val="19233E"/>
                </a:solidFill>
              </a:defRPr>
            </a:lvl2pPr>
            <a:lvl3pPr>
              <a:defRPr>
                <a:solidFill>
                  <a:srgbClr val="19233E"/>
                </a:solidFill>
              </a:defRPr>
            </a:lvl3pPr>
            <a:lvl4pPr>
              <a:defRPr>
                <a:solidFill>
                  <a:srgbClr val="19233E"/>
                </a:solidFill>
              </a:defRPr>
            </a:lvl4pPr>
            <a:lvl5pPr>
              <a:defRPr>
                <a:solidFill>
                  <a:srgbClr val="19233E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0"/>
            <a:r>
              <a:rPr lang="en-US" dirty="0"/>
              <a:t>Montserrat Medium Point Size 14</a:t>
            </a:r>
          </a:p>
          <a:p>
            <a:pPr lvl="0"/>
            <a:r>
              <a:rPr lang="en-US" dirty="0"/>
              <a:t>Montserrat Medium Point Size 12</a:t>
            </a:r>
          </a:p>
          <a:p>
            <a:pPr lvl="0"/>
            <a:r>
              <a:rPr lang="en-US" dirty="0"/>
              <a:t>Montserrat Light Point Size 12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E0209DAC-2CDA-1542-A91A-6D90370246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078">
            <a:extLst>
              <a:ext uri="{FF2B5EF4-FFF2-40B4-BE49-F238E27FC236}">
                <a16:creationId xmlns:a16="http://schemas.microsoft.com/office/drawing/2014/main" id="{9E9DA5A4-1A7E-2548-AD67-C81E6E9C2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4A2B057-D6A1-C14A-AAC3-464F4406A251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F2D107B-3615-B049-BF4B-150EC0FCDA72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3A59B52-EAD6-654A-9660-263545E42B74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92886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9233E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rgbClr val="19233E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2985A37B-B28F-1A4A-AE84-04C2167E83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E58D278-371B-4D4C-A739-15AF6066819A}"/>
              </a:ext>
            </a:extLst>
          </p:cNvPr>
          <p:cNvGrpSpPr/>
          <p:nvPr userDrawn="1"/>
        </p:nvGrpSpPr>
        <p:grpSpPr>
          <a:xfrm>
            <a:off x="10643314" y="680210"/>
            <a:ext cx="3136186" cy="1174141"/>
            <a:chOff x="6810006" y="1552689"/>
            <a:chExt cx="1912322" cy="90494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33E1889-F62C-AF4E-90EF-F392F99717C1}"/>
                </a:ext>
              </a:extLst>
            </p:cNvPr>
            <p:cNvSpPr/>
            <p:nvPr/>
          </p:nvSpPr>
          <p:spPr>
            <a:xfrm>
              <a:off x="6948010" y="1918581"/>
              <a:ext cx="1774318" cy="539049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Use this slide as a last resort for unique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content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that doesn't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fit into any of the other master layouts.</a:t>
              </a:r>
              <a:endParaRPr lang="en-US" sz="1200" i="1" dirty="0">
                <a:solidFill>
                  <a:schemeClr val="tx1">
                    <a:lumMod val="50000"/>
                  </a:schemeClr>
                </a:solidFill>
                <a:ea typeface="Roboto" charset="0"/>
                <a:cs typeface="Roboto" charset="0"/>
              </a:endParaRPr>
            </a:p>
          </p:txBody>
        </p:sp>
        <p:sp>
          <p:nvSpPr>
            <p:cNvPr id="9" name="Triangle 8">
              <a:extLst>
                <a:ext uri="{FF2B5EF4-FFF2-40B4-BE49-F238E27FC236}">
                  <a16:creationId xmlns:a16="http://schemas.microsoft.com/office/drawing/2014/main" id="{BA9FB2C0-A744-BC41-9191-56F61EC6BD33}"/>
                </a:ext>
              </a:extLst>
            </p:cNvPr>
            <p:cNvSpPr/>
            <p:nvPr/>
          </p:nvSpPr>
          <p:spPr>
            <a:xfrm rot="16200000" flipH="1">
              <a:off x="6712760" y="2015828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079F2D0-17D5-C84D-AF8F-9F3F3FA83167}"/>
                </a:ext>
              </a:extLst>
            </p:cNvPr>
            <p:cNvSpPr/>
            <p:nvPr/>
          </p:nvSpPr>
          <p:spPr>
            <a:xfrm>
              <a:off x="6955408" y="1552689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TITLE ON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55350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56936" y="5920817"/>
            <a:ext cx="492358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936" y="2823581"/>
            <a:ext cx="3766777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2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6" y="4048756"/>
            <a:ext cx="3766778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7728503" y="4839489"/>
            <a:ext cx="4354995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1184" y="-1276824"/>
            <a:ext cx="2037095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000" y="6100007"/>
            <a:ext cx="2256148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000" y="-3829507"/>
            <a:ext cx="3984743" cy="4842121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830353" y="6019880"/>
            <a:ext cx="3410026" cy="4300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1138" u="none" baseline="0" dirty="0">
                <a:solidFill>
                  <a:schemeClr val="bg1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894" i="1" dirty="0">
                <a:solidFill>
                  <a:schemeClr val="bg1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V="1">
            <a:off x="901550" y="6279059"/>
            <a:ext cx="3217500" cy="146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4927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8000" y="6093001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rgbClr val="19233E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32995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5" y="1175567"/>
            <a:ext cx="9346622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4" y="1881187"/>
            <a:ext cx="9324559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866492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7999" y="6093001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300276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4280" y="6340443"/>
            <a:ext cx="1904557" cy="231435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8757765" y="-1972415"/>
            <a:ext cx="2487960" cy="3023283"/>
          </a:xfrm>
          <a:prstGeom prst="rect">
            <a:avLst/>
          </a:prstGeom>
        </p:spPr>
      </p:pic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2026" y="6289428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13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2624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497" y="1571096"/>
            <a:ext cx="4441953" cy="4546203"/>
          </a:xfrm>
        </p:spPr>
        <p:txBody>
          <a:bodyPr>
            <a:normAutofit/>
          </a:bodyPr>
          <a:lstStyle>
            <a:lvl1pPr>
              <a:defRPr sz="1950"/>
            </a:lvl1pPr>
            <a:lvl2pPr>
              <a:defRPr sz="1733"/>
            </a:lvl2pPr>
            <a:lvl3pPr>
              <a:defRPr sz="1517"/>
            </a:lvl3pPr>
            <a:lvl4pPr>
              <a:defRPr sz="1300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8747" y="1571096"/>
            <a:ext cx="4441953" cy="4546203"/>
          </a:xfrm>
        </p:spPr>
        <p:txBody>
          <a:bodyPr>
            <a:normAutofit/>
          </a:bodyPr>
          <a:lstStyle>
            <a:lvl1pPr>
              <a:defRPr sz="1950"/>
            </a:lvl1pPr>
            <a:lvl2pPr>
              <a:defRPr sz="1733"/>
            </a:lvl2pPr>
            <a:lvl3pPr>
              <a:defRPr sz="1517"/>
            </a:lvl3pPr>
            <a:lvl4pPr>
              <a:defRPr sz="1300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25B69-2E5F-43E6-BE69-92839228EA9D}" type="datetime4">
              <a:rPr lang="en-AU" smtClean="0"/>
              <a:t>13 June 2019</a:t>
            </a:fld>
            <a:endParaRPr lang="en-AU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smtClean="0"/>
              <a:t>© NSW Department of Education | Document title</a:t>
            </a:r>
            <a:endParaRPr lang="en-AU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113622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936" y="2823581"/>
            <a:ext cx="3766777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2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56936" y="5920817"/>
            <a:ext cx="492358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6" y="4048756"/>
            <a:ext cx="3766778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6841504" y="3970809"/>
            <a:ext cx="4354995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9001" y="-494504"/>
            <a:ext cx="2037095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2605" y="5750760"/>
            <a:ext cx="2256148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0680" y="-2681427"/>
            <a:ext cx="3984743" cy="48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1465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936" y="668773"/>
            <a:ext cx="3767974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07116" y="6124027"/>
            <a:ext cx="331233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5" y="1175567"/>
            <a:ext cx="3766778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256680" y="1881188"/>
            <a:ext cx="9381669" cy="4030662"/>
          </a:xfrm>
        </p:spPr>
        <p:txBody>
          <a:bodyPr/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  <a:latin typeface="+mj-lt"/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  <a:latin typeface="+mj-lt"/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5496" y="-721654"/>
            <a:ext cx="1829251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1257" y="-3650494"/>
            <a:ext cx="3984743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6413292" y="6073211"/>
            <a:ext cx="2127912" cy="25857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395" y="6213284"/>
            <a:ext cx="1417344" cy="172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0067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E66144ED-BC45-4552-A1A9-6F161EFA6D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737" y="-10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rgbClr val="1D428A">
              <a:alpha val="70000"/>
            </a:srgb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4" name="Group 4">
            <a:extLst>
              <a:ext uri="{FF2B5EF4-FFF2-40B4-BE49-F238E27FC236}">
                <a16:creationId xmlns:a16="http://schemas.microsoft.com/office/drawing/2014/main" id="{4CF9A4E8-D3E5-4DE6-8394-E97C11F0319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92883" y="4769781"/>
            <a:ext cx="1041395" cy="1021289"/>
            <a:chOff x="2737" y="1746"/>
            <a:chExt cx="1266" cy="1268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2644C83-0D5F-4323-84AA-0A123B938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E801706-3A91-44B7-942C-98FC5457A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C4232673-D2FC-4B01-8EB1-D36520428A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53737" y="-10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 lang="en-AU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E75F8D-46E4-8F4D-BFE9-03500D0B12B5}"/>
              </a:ext>
            </a:extLst>
          </p:cNvPr>
          <p:cNvGrpSpPr/>
          <p:nvPr userDrawn="1"/>
        </p:nvGrpSpPr>
        <p:grpSpPr>
          <a:xfrm>
            <a:off x="10846461" y="14497"/>
            <a:ext cx="2704348" cy="1969412"/>
            <a:chOff x="6811349" y="1211547"/>
            <a:chExt cx="1910979" cy="3336075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B16D57-7FB2-E548-BB33-F2A04F2A43DE}"/>
                </a:ext>
              </a:extLst>
            </p:cNvPr>
            <p:cNvSpPr/>
            <p:nvPr/>
          </p:nvSpPr>
          <p:spPr>
            <a:xfrm>
              <a:off x="6948010" y="1798800"/>
              <a:ext cx="1774318" cy="274882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bring visual interest and impact there are images that bleed across the slide. To place in an image select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Fill &gt; Picture or texture </a:t>
              </a:r>
              <a:r>
                <a:rPr lang="en-US" sz="1200" b="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select your image. To crop the image at the right place use the offset sliders.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</a:p>
          </p:txBody>
        </p:sp>
        <p:sp>
          <p:nvSpPr>
            <p:cNvPr id="19" name="Triangle 18">
              <a:extLst>
                <a:ext uri="{FF2B5EF4-FFF2-40B4-BE49-F238E27FC236}">
                  <a16:creationId xmlns:a16="http://schemas.microsoft.com/office/drawing/2014/main" id="{46A8D99A-3651-7148-97C7-46E7CB2A2BDE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335EC94-5692-514E-A647-D58EE94C2BBC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BLEEDING IMAGES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AA2E4319-594A-FE4C-93B9-AC51771E0E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860" y="2052726"/>
            <a:ext cx="2510950" cy="651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1014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4" y="1881187"/>
            <a:ext cx="9324559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32995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5" y="1175567"/>
            <a:ext cx="9346622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95920006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1048888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5" y="1881187"/>
            <a:ext cx="520417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31013" y="1881187"/>
            <a:ext cx="3068986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6313641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3293601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936" y="2823581"/>
            <a:ext cx="3766777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2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56936" y="5920817"/>
            <a:ext cx="492358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6" y="4048756"/>
            <a:ext cx="3766778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6841504" y="3970809"/>
            <a:ext cx="4354995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9001" y="-494504"/>
            <a:ext cx="2037095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2605" y="5750760"/>
            <a:ext cx="2256148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0680" y="-2681427"/>
            <a:ext cx="3984743" cy="48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42076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936" y="668773"/>
            <a:ext cx="3767974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07116" y="6124027"/>
            <a:ext cx="331233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5" y="1175567"/>
            <a:ext cx="3766778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256680" y="1881188"/>
            <a:ext cx="9381669" cy="4030662"/>
          </a:xfrm>
        </p:spPr>
        <p:txBody>
          <a:bodyPr/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  <a:latin typeface="+mj-lt"/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  <a:latin typeface="+mj-lt"/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5496" y="-721654"/>
            <a:ext cx="1829251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1257" y="-3650494"/>
            <a:ext cx="3984743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31658">
            <a:off x="6413292" y="6073211"/>
            <a:ext cx="2127912" cy="25857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395" y="6213284"/>
            <a:ext cx="1417344" cy="172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1711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4" y="1881187"/>
            <a:ext cx="9324559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32995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5" y="1175567"/>
            <a:ext cx="9346622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7085092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36943607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5" y="1881187"/>
            <a:ext cx="520417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31013" y="1881187"/>
            <a:ext cx="3068986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9509314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6936" y="6188900"/>
            <a:ext cx="271641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smtClean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777279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Square Crop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4" name="Group 4">
            <a:extLst>
              <a:ext uri="{FF2B5EF4-FFF2-40B4-BE49-F238E27FC236}">
                <a16:creationId xmlns:a16="http://schemas.microsoft.com/office/drawing/2014/main" id="{4CF9A4E8-D3E5-4DE6-8394-E97C11F0319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92883" y="4769781"/>
            <a:ext cx="1041395" cy="1021289"/>
            <a:chOff x="2737" y="1746"/>
            <a:chExt cx="1266" cy="1268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2644C83-0D5F-4323-84AA-0A123B938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E801706-3A91-44B7-942C-98FC5457A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2" name="Text Placeholder 40">
            <a:extLst>
              <a:ext uri="{FF2B5EF4-FFF2-40B4-BE49-F238E27FC236}">
                <a16:creationId xmlns:a16="http://schemas.microsoft.com/office/drawing/2014/main" id="{4307DBD0-158A-314F-8106-502A1CD6A448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5858778" y="0"/>
            <a:ext cx="4047222" cy="3269409"/>
          </a:xfrm>
          <a:prstGeom prst="rect">
            <a:avLst/>
          </a:prstGeom>
          <a:solidFill>
            <a:schemeClr val="accent5">
              <a:alpha val="7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3" name="Picture Placeholder 41">
            <a:extLst>
              <a:ext uri="{FF2B5EF4-FFF2-40B4-BE49-F238E27FC236}">
                <a16:creationId xmlns:a16="http://schemas.microsoft.com/office/drawing/2014/main" id="{197EA172-35CB-D042-9800-A3E6394C354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841887" y="-1"/>
            <a:ext cx="4047222" cy="3269409"/>
          </a:xfrm>
          <a:prstGeom prst="rect">
            <a:avLst/>
          </a:prstGeom>
          <a:solidFill>
            <a:schemeClr val="bg1">
              <a:alpha val="15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920212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56936" y="5920817"/>
            <a:ext cx="492358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1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936" y="2823581"/>
            <a:ext cx="3766777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2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6" y="4048756"/>
            <a:ext cx="3766778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7728503" y="4839489"/>
            <a:ext cx="4354995" cy="5292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1184" y="-1276824"/>
            <a:ext cx="2037095" cy="24764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000" y="6100007"/>
            <a:ext cx="2256148" cy="2741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000" y="-3829507"/>
            <a:ext cx="3984743" cy="4842121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830353" y="6019880"/>
            <a:ext cx="3410026" cy="4300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1138" u="none" baseline="0" dirty="0">
                <a:solidFill>
                  <a:schemeClr val="bg1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894" i="1" dirty="0">
                <a:solidFill>
                  <a:schemeClr val="bg1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V="1">
            <a:off x="901550" y="6279059"/>
            <a:ext cx="3217500" cy="146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3934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6331585" y="1881188"/>
            <a:ext cx="3306764" cy="40014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l"/>
            <a:endParaRPr lang="en-AU" sz="1138" dirty="0" err="1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07116" y="6124027"/>
            <a:ext cx="331233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8000" y="6093001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936" y="668773"/>
            <a:ext cx="3767974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sp>
        <p:nvSpPr>
          <p:cNvPr id="27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5" y="1175567"/>
            <a:ext cx="3766778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256680" y="1881188"/>
            <a:ext cx="9381669" cy="4030662"/>
          </a:xfrm>
        </p:spPr>
        <p:txBody>
          <a:bodyPr/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charset="0"/>
              <a:buNone/>
              <a:tabLst/>
              <a:defRPr>
                <a:solidFill>
                  <a:schemeClr val="bg1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6890" y="-746038"/>
            <a:ext cx="1829251" cy="222306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1257" y="-3959784"/>
            <a:ext cx="3984743" cy="484212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6413292" y="6073211"/>
            <a:ext cx="2127912" cy="25857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7395" y="6213284"/>
            <a:ext cx="1417344" cy="172301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380" y="2002073"/>
            <a:ext cx="3137173" cy="3788892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175500" y="6009492"/>
            <a:ext cx="4953000" cy="6051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1138" u="none" baseline="0" dirty="0">
                <a:solidFill>
                  <a:schemeClr val="bg1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894" i="1" dirty="0">
                <a:solidFill>
                  <a:schemeClr val="bg1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  <a:p>
            <a:pPr algn="l"/>
            <a:endParaRPr lang="en-AU" sz="1138" dirty="0">
              <a:solidFill>
                <a:schemeClr val="bg1"/>
              </a:solidFill>
              <a:latin typeface="Montserrat Light" panose="00000400000000000000" pitchFamily="2" charset="0"/>
            </a:endParaRPr>
          </a:p>
        </p:txBody>
      </p:sp>
      <p:cxnSp>
        <p:nvCxnSpPr>
          <p:cNvPr id="30" name="Straight Connector 29"/>
          <p:cNvCxnSpPr/>
          <p:nvPr userDrawn="1"/>
        </p:nvCxnSpPr>
        <p:spPr>
          <a:xfrm flipV="1">
            <a:off x="238103" y="6275563"/>
            <a:ext cx="3217500" cy="16947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6652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724" y="6059891"/>
            <a:ext cx="3193859" cy="3881458"/>
          </a:xfrm>
          <a:prstGeom prst="rect">
            <a:avLst/>
          </a:prstGeom>
        </p:spPr>
      </p:pic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8000" y="6093001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rgbClr val="19233E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32995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935" y="1175567"/>
            <a:ext cx="9346622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4" y="1881187"/>
            <a:ext cx="9324559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0D0A281D-98B7-2F4B-9C53-6977F980F5D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696101" y="-578855"/>
            <a:ext cx="846133" cy="1021289"/>
            <a:chOff x="2737" y="1746"/>
            <a:chExt cx="1266" cy="1268"/>
          </a:xfrm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B8068435-172B-564C-87DC-CACBBFDFC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6080AE25-9CAA-BA4E-9B1B-239D14230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5202450" y="5547924"/>
            <a:ext cx="3559010" cy="432478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5018" y="-4070793"/>
            <a:ext cx="3984743" cy="48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19642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7999" y="6093001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3942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043" y="6230002"/>
            <a:ext cx="1913115" cy="232498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935" y="668773"/>
            <a:ext cx="9285299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935" y="1175567"/>
            <a:ext cx="9301883" cy="276999"/>
          </a:xfrm>
        </p:spPr>
        <p:txBody>
          <a:bodyPr wrap="square">
            <a:noAutofit/>
          </a:bodyPr>
          <a:lstStyle>
            <a:lvl1pPr>
              <a:defRPr sz="1463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6936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24335" y="1881187"/>
            <a:ext cx="4475665" cy="4030633"/>
          </a:xfrm>
        </p:spPr>
        <p:txBody>
          <a:bodyPr>
            <a:noAutofit/>
          </a:bodyPr>
          <a:lstStyle>
            <a:lvl1pPr marL="0" marR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16997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33993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350990" marR="0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16997" marR="0" lvl="1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3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33993" marR="0" lvl="2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350990" marR="0" lvl="3" indent="-116997" algn="l" defTabSz="7429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5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273863" y="365498"/>
            <a:ext cx="2067250" cy="150041"/>
            <a:chOff x="446350" y="402893"/>
            <a:chExt cx="2746140" cy="165392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8180" cy="1653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975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4280" y="6340443"/>
            <a:ext cx="1904557" cy="231435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31658">
            <a:off x="8757765" y="-1972415"/>
            <a:ext cx="2487960" cy="3023283"/>
          </a:xfrm>
          <a:prstGeom prst="rect">
            <a:avLst/>
          </a:prstGeom>
        </p:spPr>
      </p:pic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2026" y="6289428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13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AU"/>
              <a:t>© NSW Department of Education | Documen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3698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497" y="1571096"/>
            <a:ext cx="4441953" cy="4546203"/>
          </a:xfrm>
        </p:spPr>
        <p:txBody>
          <a:bodyPr>
            <a:normAutofit/>
          </a:bodyPr>
          <a:lstStyle>
            <a:lvl1pPr>
              <a:defRPr sz="1950"/>
            </a:lvl1pPr>
            <a:lvl2pPr>
              <a:defRPr sz="1733"/>
            </a:lvl2pPr>
            <a:lvl3pPr>
              <a:defRPr sz="1517"/>
            </a:lvl3pPr>
            <a:lvl4pPr>
              <a:defRPr sz="1300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8747" y="1571096"/>
            <a:ext cx="4441953" cy="4546203"/>
          </a:xfrm>
        </p:spPr>
        <p:txBody>
          <a:bodyPr>
            <a:normAutofit/>
          </a:bodyPr>
          <a:lstStyle>
            <a:lvl1pPr>
              <a:defRPr sz="1950"/>
            </a:lvl1pPr>
            <a:lvl2pPr>
              <a:defRPr sz="1733"/>
            </a:lvl2pPr>
            <a:lvl3pPr>
              <a:defRPr sz="1517"/>
            </a:lvl3pPr>
            <a:lvl4pPr>
              <a:defRPr sz="1300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797345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970CEFB-E51A-4B14-9DB2-514C0C5AB6A8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308336" y="1"/>
            <a:ext cx="2597664" cy="4803828"/>
          </a:xfrm>
          <a:custGeom>
            <a:avLst/>
            <a:gdLst>
              <a:gd name="connsiteX0" fmla="*/ 1294023 w 2548807"/>
              <a:gd name="connsiteY0" fmla="*/ 0 h 4803828"/>
              <a:gd name="connsiteX1" fmla="*/ 2548807 w 2548807"/>
              <a:gd name="connsiteY1" fmla="*/ 0 h 4803828"/>
              <a:gd name="connsiteX2" fmla="*/ 2548807 w 2548807"/>
              <a:gd name="connsiteY2" fmla="*/ 4803828 h 4803828"/>
              <a:gd name="connsiteX3" fmla="*/ 2310823 w 2548807"/>
              <a:gd name="connsiteY3" fmla="*/ 4791811 h 4803828"/>
              <a:gd name="connsiteX4" fmla="*/ 0 w 2548807"/>
              <a:gd name="connsiteY4" fmla="*/ 2231100 h 4803828"/>
              <a:gd name="connsiteX5" fmla="*/ 1134852 w 2548807"/>
              <a:gd name="connsiteY5" fmla="*/ 96699 h 4803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8807" h="4803828">
                <a:moveTo>
                  <a:pt x="1294023" y="0"/>
                </a:moveTo>
                <a:lnTo>
                  <a:pt x="2548807" y="0"/>
                </a:lnTo>
                <a:lnTo>
                  <a:pt x="2548807" y="4803828"/>
                </a:lnTo>
                <a:lnTo>
                  <a:pt x="2310823" y="4791811"/>
                </a:lnTo>
                <a:cubicBezTo>
                  <a:pt x="1012868" y="4659996"/>
                  <a:pt x="0" y="3563832"/>
                  <a:pt x="0" y="2231100"/>
                </a:cubicBezTo>
                <a:cubicBezTo>
                  <a:pt x="0" y="1342612"/>
                  <a:pt x="450164" y="559265"/>
                  <a:pt x="1134852" y="96699"/>
                </a:cubicBezTo>
                <a:close/>
              </a:path>
            </a:pathLst>
          </a:custGeom>
          <a:solidFill>
            <a:schemeClr val="accent5">
              <a:alpha val="7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4109575"/>
            <a:ext cx="6512384" cy="11079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goes here across two lines</a:t>
            </a:r>
            <a:endParaRPr lang="en-AU" dirty="0"/>
          </a:p>
        </p:txBody>
      </p:sp>
      <p:sp>
        <p:nvSpPr>
          <p:cNvPr id="22" name="Freeform 10">
            <a:extLst>
              <a:ext uri="{FF2B5EF4-FFF2-40B4-BE49-F238E27FC236}">
                <a16:creationId xmlns:a16="http://schemas.microsoft.com/office/drawing/2014/main" id="{39AB1F3C-8E26-4E08-9535-80C3D60FD691}"/>
              </a:ext>
            </a:extLst>
          </p:cNvPr>
          <p:cNvSpPr>
            <a:spLocks/>
          </p:cNvSpPr>
          <p:nvPr userDrawn="1"/>
        </p:nvSpPr>
        <p:spPr bwMode="auto">
          <a:xfrm>
            <a:off x="2731322" y="3"/>
            <a:ext cx="2488634" cy="2384889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F91DDC9C-D975-43D0-B1B8-699AE6B7DA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374180" y="-217114"/>
            <a:ext cx="1934156" cy="1619232"/>
          </a:xfrm>
          <a:custGeom>
            <a:avLst/>
            <a:gdLst>
              <a:gd name="T0" fmla="*/ 331 w 3240"/>
              <a:gd name="T1" fmla="*/ 506 h 2758"/>
              <a:gd name="T2" fmla="*/ 325 w 3240"/>
              <a:gd name="T3" fmla="*/ 408 h 2758"/>
              <a:gd name="T4" fmla="*/ 328 w 3240"/>
              <a:gd name="T5" fmla="*/ 242 h 2758"/>
              <a:gd name="T6" fmla="*/ 322 w 3240"/>
              <a:gd name="T7" fmla="*/ 157 h 2758"/>
              <a:gd name="T8" fmla="*/ 68 w 3240"/>
              <a:gd name="T9" fmla="*/ 8 h 2758"/>
              <a:gd name="T10" fmla="*/ 29 w 3240"/>
              <a:gd name="T11" fmla="*/ 52 h 2758"/>
              <a:gd name="T12" fmla="*/ 22 w 3240"/>
              <a:gd name="T13" fmla="*/ 120 h 2758"/>
              <a:gd name="T14" fmla="*/ 9 w 3240"/>
              <a:gd name="T15" fmla="*/ 192 h 2758"/>
              <a:gd name="T16" fmla="*/ 14 w 3240"/>
              <a:gd name="T17" fmla="*/ 237 h 2758"/>
              <a:gd name="T18" fmla="*/ 45 w 3240"/>
              <a:gd name="T19" fmla="*/ 308 h 2758"/>
              <a:gd name="T20" fmla="*/ 15 w 3240"/>
              <a:gd name="T21" fmla="*/ 366 h 2758"/>
              <a:gd name="T22" fmla="*/ 28 w 3240"/>
              <a:gd name="T23" fmla="*/ 405 h 2758"/>
              <a:gd name="T24" fmla="*/ 600 w 3240"/>
              <a:gd name="T25" fmla="*/ 1457 h 2758"/>
              <a:gd name="T26" fmla="*/ 486 w 3240"/>
              <a:gd name="T27" fmla="*/ 1266 h 2758"/>
              <a:gd name="T28" fmla="*/ 419 w 3240"/>
              <a:gd name="T29" fmla="*/ 1100 h 2758"/>
              <a:gd name="T30" fmla="*/ 389 w 3240"/>
              <a:gd name="T31" fmla="*/ 1025 h 2758"/>
              <a:gd name="T32" fmla="*/ 120 w 3240"/>
              <a:gd name="T33" fmla="*/ 1113 h 2758"/>
              <a:gd name="T34" fmla="*/ 149 w 3240"/>
              <a:gd name="T35" fmla="*/ 1259 h 2758"/>
              <a:gd name="T36" fmla="*/ 165 w 3240"/>
              <a:gd name="T37" fmla="*/ 1292 h 2758"/>
              <a:gd name="T38" fmla="*/ 220 w 3240"/>
              <a:gd name="T39" fmla="*/ 1415 h 2758"/>
              <a:gd name="T40" fmla="*/ 245 w 3240"/>
              <a:gd name="T41" fmla="*/ 1438 h 2758"/>
              <a:gd name="T42" fmla="*/ 290 w 3240"/>
              <a:gd name="T43" fmla="*/ 1492 h 2758"/>
              <a:gd name="T44" fmla="*/ 336 w 3240"/>
              <a:gd name="T45" fmla="*/ 1579 h 2758"/>
              <a:gd name="T46" fmla="*/ 607 w 3240"/>
              <a:gd name="T47" fmla="*/ 1497 h 2758"/>
              <a:gd name="T48" fmla="*/ 1313 w 3240"/>
              <a:gd name="T49" fmla="*/ 2196 h 2758"/>
              <a:gd name="T50" fmla="*/ 1290 w 3240"/>
              <a:gd name="T51" fmla="*/ 2173 h 2758"/>
              <a:gd name="T52" fmla="*/ 1111 w 3240"/>
              <a:gd name="T53" fmla="*/ 2088 h 2758"/>
              <a:gd name="T54" fmla="*/ 973 w 3240"/>
              <a:gd name="T55" fmla="*/ 1984 h 2758"/>
              <a:gd name="T56" fmla="*/ 910 w 3240"/>
              <a:gd name="T57" fmla="*/ 1921 h 2758"/>
              <a:gd name="T58" fmla="*/ 731 w 3240"/>
              <a:gd name="T59" fmla="*/ 2153 h 2758"/>
              <a:gd name="T60" fmla="*/ 796 w 3240"/>
              <a:gd name="T61" fmla="*/ 2248 h 2758"/>
              <a:gd name="T62" fmla="*/ 861 w 3240"/>
              <a:gd name="T63" fmla="*/ 2279 h 2758"/>
              <a:gd name="T64" fmla="*/ 943 w 3240"/>
              <a:gd name="T65" fmla="*/ 2361 h 2758"/>
              <a:gd name="T66" fmla="*/ 992 w 3240"/>
              <a:gd name="T67" fmla="*/ 2372 h 2758"/>
              <a:gd name="T68" fmla="*/ 1069 w 3240"/>
              <a:gd name="T69" fmla="*/ 2366 h 2758"/>
              <a:gd name="T70" fmla="*/ 1139 w 3240"/>
              <a:gd name="T71" fmla="*/ 2429 h 2758"/>
              <a:gd name="T72" fmla="*/ 1314 w 3240"/>
              <a:gd name="T73" fmla="*/ 2198 h 2758"/>
              <a:gd name="T74" fmla="*/ 2234 w 3240"/>
              <a:gd name="T75" fmla="*/ 2396 h 2758"/>
              <a:gd name="T76" fmla="*/ 2203 w 3240"/>
              <a:gd name="T77" fmla="*/ 2377 h 2758"/>
              <a:gd name="T78" fmla="*/ 2004 w 3240"/>
              <a:gd name="T79" fmla="*/ 2404 h 2758"/>
              <a:gd name="T80" fmla="*/ 1843 w 3240"/>
              <a:gd name="T81" fmla="*/ 2395 h 2758"/>
              <a:gd name="T82" fmla="*/ 1769 w 3240"/>
              <a:gd name="T83" fmla="*/ 2390 h 2758"/>
              <a:gd name="T84" fmla="*/ 1742 w 3240"/>
              <a:gd name="T85" fmla="*/ 2701 h 2758"/>
              <a:gd name="T86" fmla="*/ 1872 w 3240"/>
              <a:gd name="T87" fmla="*/ 2740 h 2758"/>
              <a:gd name="T88" fmla="*/ 1905 w 3240"/>
              <a:gd name="T89" fmla="*/ 2738 h 2758"/>
              <a:gd name="T90" fmla="*/ 2027 w 3240"/>
              <a:gd name="T91" fmla="*/ 2741 h 2758"/>
              <a:gd name="T92" fmla="*/ 2055 w 3240"/>
              <a:gd name="T93" fmla="*/ 2726 h 2758"/>
              <a:gd name="T94" fmla="*/ 2116 w 3240"/>
              <a:gd name="T95" fmla="*/ 2706 h 2758"/>
              <a:gd name="T96" fmla="*/ 2205 w 3240"/>
              <a:gd name="T97" fmla="*/ 2700 h 2758"/>
              <a:gd name="T98" fmla="*/ 2239 w 3240"/>
              <a:gd name="T99" fmla="*/ 2390 h 2758"/>
              <a:gd name="T100" fmla="*/ 3078 w 3240"/>
              <a:gd name="T101" fmla="*/ 2001 h 2758"/>
              <a:gd name="T102" fmla="*/ 3058 w 3240"/>
              <a:gd name="T103" fmla="*/ 2002 h 2758"/>
              <a:gd name="T104" fmla="*/ 2976 w 3240"/>
              <a:gd name="T105" fmla="*/ 2092 h 2758"/>
              <a:gd name="T106" fmla="*/ 2818 w 3240"/>
              <a:gd name="T107" fmla="*/ 2223 h 2758"/>
              <a:gd name="T108" fmla="*/ 2741 w 3240"/>
              <a:gd name="T109" fmla="*/ 2288 h 2758"/>
              <a:gd name="T110" fmla="*/ 2825 w 3240"/>
              <a:gd name="T111" fmla="*/ 2557 h 2758"/>
              <a:gd name="T112" fmla="*/ 2905 w 3240"/>
              <a:gd name="T113" fmla="*/ 2551 h 2758"/>
              <a:gd name="T114" fmla="*/ 2977 w 3240"/>
              <a:gd name="T115" fmla="*/ 2504 h 2758"/>
              <a:gd name="T116" fmla="*/ 3057 w 3240"/>
              <a:gd name="T117" fmla="*/ 2457 h 2758"/>
              <a:gd name="T118" fmla="*/ 3095 w 3240"/>
              <a:gd name="T119" fmla="*/ 2417 h 2758"/>
              <a:gd name="T120" fmla="*/ 3132 w 3240"/>
              <a:gd name="T121" fmla="*/ 2340 h 2758"/>
              <a:gd name="T122" fmla="*/ 3212 w 3240"/>
              <a:gd name="T123" fmla="*/ 2303 h 2758"/>
              <a:gd name="T124" fmla="*/ 3230 w 3240"/>
              <a:gd name="T125" fmla="*/ 2257 h 2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240" h="2758">
                <a:moveTo>
                  <a:pt x="315" y="518"/>
                </a:moveTo>
                <a:cubicBezTo>
                  <a:pt x="319" y="518"/>
                  <a:pt x="321" y="517"/>
                  <a:pt x="319" y="515"/>
                </a:cubicBezTo>
                <a:cubicBezTo>
                  <a:pt x="309" y="512"/>
                  <a:pt x="309" y="512"/>
                  <a:pt x="309" y="512"/>
                </a:cubicBezTo>
                <a:cubicBezTo>
                  <a:pt x="306" y="508"/>
                  <a:pt x="315" y="513"/>
                  <a:pt x="315" y="510"/>
                </a:cubicBezTo>
                <a:cubicBezTo>
                  <a:pt x="322" y="512"/>
                  <a:pt x="324" y="515"/>
                  <a:pt x="324" y="517"/>
                </a:cubicBezTo>
                <a:cubicBezTo>
                  <a:pt x="325" y="515"/>
                  <a:pt x="331" y="515"/>
                  <a:pt x="323" y="512"/>
                </a:cubicBezTo>
                <a:cubicBezTo>
                  <a:pt x="326" y="511"/>
                  <a:pt x="332" y="515"/>
                  <a:pt x="336" y="513"/>
                </a:cubicBezTo>
                <a:cubicBezTo>
                  <a:pt x="334" y="511"/>
                  <a:pt x="326" y="507"/>
                  <a:pt x="331" y="506"/>
                </a:cubicBezTo>
                <a:cubicBezTo>
                  <a:pt x="332" y="506"/>
                  <a:pt x="332" y="506"/>
                  <a:pt x="332" y="506"/>
                </a:cubicBezTo>
                <a:cubicBezTo>
                  <a:pt x="341" y="504"/>
                  <a:pt x="321" y="496"/>
                  <a:pt x="330" y="494"/>
                </a:cubicBezTo>
                <a:cubicBezTo>
                  <a:pt x="332" y="495"/>
                  <a:pt x="332" y="495"/>
                  <a:pt x="332" y="495"/>
                </a:cubicBezTo>
                <a:cubicBezTo>
                  <a:pt x="337" y="495"/>
                  <a:pt x="331" y="490"/>
                  <a:pt x="336" y="489"/>
                </a:cubicBezTo>
                <a:cubicBezTo>
                  <a:pt x="335" y="489"/>
                  <a:pt x="329" y="488"/>
                  <a:pt x="328" y="486"/>
                </a:cubicBezTo>
                <a:cubicBezTo>
                  <a:pt x="333" y="485"/>
                  <a:pt x="329" y="481"/>
                  <a:pt x="335" y="480"/>
                </a:cubicBezTo>
                <a:cubicBezTo>
                  <a:pt x="328" y="476"/>
                  <a:pt x="328" y="476"/>
                  <a:pt x="328" y="476"/>
                </a:cubicBezTo>
                <a:cubicBezTo>
                  <a:pt x="330" y="466"/>
                  <a:pt x="325" y="419"/>
                  <a:pt x="325" y="408"/>
                </a:cubicBezTo>
                <a:cubicBezTo>
                  <a:pt x="326" y="408"/>
                  <a:pt x="326" y="408"/>
                  <a:pt x="326" y="408"/>
                </a:cubicBezTo>
                <a:cubicBezTo>
                  <a:pt x="324" y="390"/>
                  <a:pt x="330" y="356"/>
                  <a:pt x="322" y="335"/>
                </a:cubicBezTo>
                <a:cubicBezTo>
                  <a:pt x="330" y="335"/>
                  <a:pt x="328" y="331"/>
                  <a:pt x="331" y="329"/>
                </a:cubicBezTo>
                <a:cubicBezTo>
                  <a:pt x="328" y="329"/>
                  <a:pt x="323" y="327"/>
                  <a:pt x="323" y="326"/>
                </a:cubicBezTo>
                <a:cubicBezTo>
                  <a:pt x="325" y="317"/>
                  <a:pt x="318" y="323"/>
                  <a:pt x="316" y="313"/>
                </a:cubicBezTo>
                <a:cubicBezTo>
                  <a:pt x="311" y="300"/>
                  <a:pt x="325" y="266"/>
                  <a:pt x="332" y="260"/>
                </a:cubicBezTo>
                <a:cubicBezTo>
                  <a:pt x="322" y="250"/>
                  <a:pt x="332" y="248"/>
                  <a:pt x="326" y="241"/>
                </a:cubicBezTo>
                <a:cubicBezTo>
                  <a:pt x="328" y="242"/>
                  <a:pt x="328" y="242"/>
                  <a:pt x="328" y="242"/>
                </a:cubicBezTo>
                <a:cubicBezTo>
                  <a:pt x="325" y="235"/>
                  <a:pt x="340" y="212"/>
                  <a:pt x="337" y="204"/>
                </a:cubicBezTo>
                <a:cubicBezTo>
                  <a:pt x="335" y="205"/>
                  <a:pt x="335" y="205"/>
                  <a:pt x="335" y="205"/>
                </a:cubicBezTo>
                <a:cubicBezTo>
                  <a:pt x="330" y="196"/>
                  <a:pt x="341" y="203"/>
                  <a:pt x="345" y="200"/>
                </a:cubicBezTo>
                <a:cubicBezTo>
                  <a:pt x="333" y="195"/>
                  <a:pt x="327" y="188"/>
                  <a:pt x="327" y="186"/>
                </a:cubicBezTo>
                <a:cubicBezTo>
                  <a:pt x="329" y="187"/>
                  <a:pt x="329" y="187"/>
                  <a:pt x="329" y="187"/>
                </a:cubicBezTo>
                <a:cubicBezTo>
                  <a:pt x="328" y="184"/>
                  <a:pt x="319" y="173"/>
                  <a:pt x="318" y="168"/>
                </a:cubicBezTo>
                <a:cubicBezTo>
                  <a:pt x="324" y="172"/>
                  <a:pt x="324" y="172"/>
                  <a:pt x="324" y="172"/>
                </a:cubicBezTo>
                <a:cubicBezTo>
                  <a:pt x="318" y="165"/>
                  <a:pt x="322" y="160"/>
                  <a:pt x="322" y="157"/>
                </a:cubicBezTo>
                <a:cubicBezTo>
                  <a:pt x="326" y="153"/>
                  <a:pt x="339" y="150"/>
                  <a:pt x="332" y="138"/>
                </a:cubicBezTo>
                <a:cubicBezTo>
                  <a:pt x="351" y="143"/>
                  <a:pt x="351" y="143"/>
                  <a:pt x="351" y="143"/>
                </a:cubicBezTo>
                <a:cubicBezTo>
                  <a:pt x="349" y="141"/>
                  <a:pt x="349" y="141"/>
                  <a:pt x="349" y="141"/>
                </a:cubicBezTo>
                <a:cubicBezTo>
                  <a:pt x="349" y="141"/>
                  <a:pt x="294" y="111"/>
                  <a:pt x="232" y="79"/>
                </a:cubicBezTo>
                <a:cubicBezTo>
                  <a:pt x="170" y="46"/>
                  <a:pt x="102" y="12"/>
                  <a:pt x="77" y="6"/>
                </a:cubicBezTo>
                <a:cubicBezTo>
                  <a:pt x="71" y="3"/>
                  <a:pt x="71" y="3"/>
                  <a:pt x="71" y="3"/>
                </a:cubicBezTo>
                <a:cubicBezTo>
                  <a:pt x="71" y="5"/>
                  <a:pt x="71" y="5"/>
                  <a:pt x="71" y="5"/>
                </a:cubicBezTo>
                <a:cubicBezTo>
                  <a:pt x="67" y="6"/>
                  <a:pt x="75" y="11"/>
                  <a:pt x="68" y="8"/>
                </a:cubicBezTo>
                <a:cubicBezTo>
                  <a:pt x="70" y="5"/>
                  <a:pt x="70" y="5"/>
                  <a:pt x="70" y="5"/>
                </a:cubicBezTo>
                <a:cubicBezTo>
                  <a:pt x="67" y="6"/>
                  <a:pt x="64" y="3"/>
                  <a:pt x="61" y="0"/>
                </a:cubicBezTo>
                <a:cubicBezTo>
                  <a:pt x="60" y="1"/>
                  <a:pt x="59" y="1"/>
                  <a:pt x="57" y="1"/>
                </a:cubicBezTo>
                <a:cubicBezTo>
                  <a:pt x="59" y="3"/>
                  <a:pt x="60" y="2"/>
                  <a:pt x="61" y="2"/>
                </a:cubicBezTo>
                <a:cubicBezTo>
                  <a:pt x="63" y="5"/>
                  <a:pt x="69" y="10"/>
                  <a:pt x="65" y="10"/>
                </a:cubicBezTo>
                <a:cubicBezTo>
                  <a:pt x="64" y="13"/>
                  <a:pt x="55" y="5"/>
                  <a:pt x="54" y="8"/>
                </a:cubicBezTo>
                <a:cubicBezTo>
                  <a:pt x="45" y="23"/>
                  <a:pt x="34" y="36"/>
                  <a:pt x="33" y="54"/>
                </a:cubicBezTo>
                <a:cubicBezTo>
                  <a:pt x="30" y="53"/>
                  <a:pt x="30" y="53"/>
                  <a:pt x="29" y="52"/>
                </a:cubicBezTo>
                <a:cubicBezTo>
                  <a:pt x="31" y="58"/>
                  <a:pt x="29" y="62"/>
                  <a:pt x="31" y="69"/>
                </a:cubicBezTo>
                <a:cubicBezTo>
                  <a:pt x="28" y="69"/>
                  <a:pt x="24" y="67"/>
                  <a:pt x="21" y="66"/>
                </a:cubicBezTo>
                <a:cubicBezTo>
                  <a:pt x="26" y="68"/>
                  <a:pt x="22" y="96"/>
                  <a:pt x="20" y="95"/>
                </a:cubicBezTo>
                <a:cubicBezTo>
                  <a:pt x="32" y="101"/>
                  <a:pt x="32" y="101"/>
                  <a:pt x="32" y="101"/>
                </a:cubicBezTo>
                <a:cubicBezTo>
                  <a:pt x="32" y="106"/>
                  <a:pt x="18" y="97"/>
                  <a:pt x="21" y="103"/>
                </a:cubicBezTo>
                <a:cubicBezTo>
                  <a:pt x="37" y="112"/>
                  <a:pt x="17" y="110"/>
                  <a:pt x="26" y="115"/>
                </a:cubicBezTo>
                <a:cubicBezTo>
                  <a:pt x="25" y="115"/>
                  <a:pt x="24" y="117"/>
                  <a:pt x="19" y="115"/>
                </a:cubicBezTo>
                <a:cubicBezTo>
                  <a:pt x="28" y="119"/>
                  <a:pt x="20" y="118"/>
                  <a:pt x="22" y="120"/>
                </a:cubicBezTo>
                <a:cubicBezTo>
                  <a:pt x="25" y="122"/>
                  <a:pt x="25" y="121"/>
                  <a:pt x="28" y="122"/>
                </a:cubicBezTo>
                <a:cubicBezTo>
                  <a:pt x="31" y="127"/>
                  <a:pt x="31" y="127"/>
                  <a:pt x="31" y="127"/>
                </a:cubicBezTo>
                <a:cubicBezTo>
                  <a:pt x="27" y="127"/>
                  <a:pt x="22" y="125"/>
                  <a:pt x="21" y="123"/>
                </a:cubicBezTo>
                <a:cubicBezTo>
                  <a:pt x="17" y="130"/>
                  <a:pt x="1" y="170"/>
                  <a:pt x="4" y="181"/>
                </a:cubicBezTo>
                <a:cubicBezTo>
                  <a:pt x="11" y="183"/>
                  <a:pt x="7" y="178"/>
                  <a:pt x="18" y="181"/>
                </a:cubicBezTo>
                <a:cubicBezTo>
                  <a:pt x="24" y="186"/>
                  <a:pt x="15" y="184"/>
                  <a:pt x="21" y="188"/>
                </a:cubicBezTo>
                <a:cubicBezTo>
                  <a:pt x="5" y="182"/>
                  <a:pt x="17" y="192"/>
                  <a:pt x="0" y="187"/>
                </a:cubicBezTo>
                <a:cubicBezTo>
                  <a:pt x="9" y="192"/>
                  <a:pt x="9" y="192"/>
                  <a:pt x="9" y="192"/>
                </a:cubicBezTo>
                <a:cubicBezTo>
                  <a:pt x="3" y="191"/>
                  <a:pt x="3" y="191"/>
                  <a:pt x="3" y="191"/>
                </a:cubicBezTo>
                <a:cubicBezTo>
                  <a:pt x="11" y="206"/>
                  <a:pt x="8" y="195"/>
                  <a:pt x="4" y="204"/>
                </a:cubicBezTo>
                <a:cubicBezTo>
                  <a:pt x="4" y="211"/>
                  <a:pt x="17" y="219"/>
                  <a:pt x="12" y="220"/>
                </a:cubicBezTo>
                <a:cubicBezTo>
                  <a:pt x="12" y="219"/>
                  <a:pt x="18" y="220"/>
                  <a:pt x="20" y="223"/>
                </a:cubicBezTo>
                <a:cubicBezTo>
                  <a:pt x="12" y="220"/>
                  <a:pt x="25" y="229"/>
                  <a:pt x="17" y="227"/>
                </a:cubicBezTo>
                <a:cubicBezTo>
                  <a:pt x="17" y="228"/>
                  <a:pt x="16" y="233"/>
                  <a:pt x="27" y="235"/>
                </a:cubicBezTo>
                <a:cubicBezTo>
                  <a:pt x="21" y="234"/>
                  <a:pt x="19" y="237"/>
                  <a:pt x="14" y="233"/>
                </a:cubicBezTo>
                <a:cubicBezTo>
                  <a:pt x="14" y="234"/>
                  <a:pt x="12" y="235"/>
                  <a:pt x="14" y="237"/>
                </a:cubicBezTo>
                <a:cubicBezTo>
                  <a:pt x="17" y="236"/>
                  <a:pt x="17" y="236"/>
                  <a:pt x="17" y="236"/>
                </a:cubicBezTo>
                <a:cubicBezTo>
                  <a:pt x="18" y="242"/>
                  <a:pt x="9" y="241"/>
                  <a:pt x="19" y="248"/>
                </a:cubicBezTo>
                <a:cubicBezTo>
                  <a:pt x="24" y="248"/>
                  <a:pt x="24" y="248"/>
                  <a:pt x="24" y="248"/>
                </a:cubicBezTo>
                <a:cubicBezTo>
                  <a:pt x="24" y="251"/>
                  <a:pt x="24" y="254"/>
                  <a:pt x="13" y="251"/>
                </a:cubicBezTo>
                <a:cubicBezTo>
                  <a:pt x="10" y="247"/>
                  <a:pt x="10" y="247"/>
                  <a:pt x="10" y="247"/>
                </a:cubicBezTo>
                <a:cubicBezTo>
                  <a:pt x="10" y="252"/>
                  <a:pt x="10" y="255"/>
                  <a:pt x="16" y="261"/>
                </a:cubicBezTo>
                <a:cubicBezTo>
                  <a:pt x="16" y="260"/>
                  <a:pt x="16" y="260"/>
                  <a:pt x="16" y="260"/>
                </a:cubicBezTo>
                <a:cubicBezTo>
                  <a:pt x="26" y="269"/>
                  <a:pt x="32" y="298"/>
                  <a:pt x="45" y="308"/>
                </a:cubicBezTo>
                <a:cubicBezTo>
                  <a:pt x="54" y="308"/>
                  <a:pt x="54" y="308"/>
                  <a:pt x="54" y="308"/>
                </a:cubicBezTo>
                <a:cubicBezTo>
                  <a:pt x="60" y="315"/>
                  <a:pt x="60" y="315"/>
                  <a:pt x="60" y="315"/>
                </a:cubicBezTo>
                <a:cubicBezTo>
                  <a:pt x="60" y="315"/>
                  <a:pt x="54" y="312"/>
                  <a:pt x="47" y="309"/>
                </a:cubicBezTo>
                <a:cubicBezTo>
                  <a:pt x="41" y="306"/>
                  <a:pt x="34" y="304"/>
                  <a:pt x="36" y="304"/>
                </a:cubicBezTo>
                <a:cubicBezTo>
                  <a:pt x="36" y="313"/>
                  <a:pt x="37" y="359"/>
                  <a:pt x="30" y="365"/>
                </a:cubicBezTo>
                <a:cubicBezTo>
                  <a:pt x="25" y="367"/>
                  <a:pt x="17" y="362"/>
                  <a:pt x="15" y="361"/>
                </a:cubicBezTo>
                <a:cubicBezTo>
                  <a:pt x="18" y="366"/>
                  <a:pt x="24" y="366"/>
                  <a:pt x="23" y="369"/>
                </a:cubicBezTo>
                <a:cubicBezTo>
                  <a:pt x="21" y="369"/>
                  <a:pt x="16" y="367"/>
                  <a:pt x="15" y="366"/>
                </a:cubicBezTo>
                <a:cubicBezTo>
                  <a:pt x="16" y="367"/>
                  <a:pt x="13" y="368"/>
                  <a:pt x="17" y="369"/>
                </a:cubicBezTo>
                <a:cubicBezTo>
                  <a:pt x="20" y="368"/>
                  <a:pt x="31" y="373"/>
                  <a:pt x="38" y="374"/>
                </a:cubicBezTo>
                <a:cubicBezTo>
                  <a:pt x="36" y="378"/>
                  <a:pt x="36" y="378"/>
                  <a:pt x="36" y="378"/>
                </a:cubicBezTo>
                <a:cubicBezTo>
                  <a:pt x="30" y="376"/>
                  <a:pt x="30" y="376"/>
                  <a:pt x="30" y="376"/>
                </a:cubicBezTo>
                <a:cubicBezTo>
                  <a:pt x="29" y="376"/>
                  <a:pt x="48" y="384"/>
                  <a:pt x="44" y="387"/>
                </a:cubicBezTo>
                <a:cubicBezTo>
                  <a:pt x="40" y="393"/>
                  <a:pt x="42" y="401"/>
                  <a:pt x="39" y="408"/>
                </a:cubicBezTo>
                <a:cubicBezTo>
                  <a:pt x="35" y="406"/>
                  <a:pt x="33" y="404"/>
                  <a:pt x="31" y="402"/>
                </a:cubicBezTo>
                <a:cubicBezTo>
                  <a:pt x="31" y="403"/>
                  <a:pt x="31" y="405"/>
                  <a:pt x="28" y="405"/>
                </a:cubicBezTo>
                <a:cubicBezTo>
                  <a:pt x="36" y="405"/>
                  <a:pt x="33" y="409"/>
                  <a:pt x="36" y="409"/>
                </a:cubicBezTo>
                <a:cubicBezTo>
                  <a:pt x="52" y="419"/>
                  <a:pt x="36" y="421"/>
                  <a:pt x="47" y="429"/>
                </a:cubicBezTo>
                <a:cubicBezTo>
                  <a:pt x="62" y="434"/>
                  <a:pt x="299" y="511"/>
                  <a:pt x="317" y="515"/>
                </a:cubicBezTo>
                <a:cubicBezTo>
                  <a:pt x="317" y="517"/>
                  <a:pt x="316" y="518"/>
                  <a:pt x="315" y="518"/>
                </a:cubicBezTo>
                <a:close/>
                <a:moveTo>
                  <a:pt x="608" y="1470"/>
                </a:moveTo>
                <a:cubicBezTo>
                  <a:pt x="609" y="1469"/>
                  <a:pt x="609" y="1469"/>
                  <a:pt x="609" y="1469"/>
                </a:cubicBezTo>
                <a:cubicBezTo>
                  <a:pt x="612" y="1459"/>
                  <a:pt x="595" y="1467"/>
                  <a:pt x="598" y="1457"/>
                </a:cubicBezTo>
                <a:cubicBezTo>
                  <a:pt x="600" y="1457"/>
                  <a:pt x="600" y="1457"/>
                  <a:pt x="600" y="1457"/>
                </a:cubicBezTo>
                <a:cubicBezTo>
                  <a:pt x="603" y="1453"/>
                  <a:pt x="596" y="1452"/>
                  <a:pt x="598" y="1446"/>
                </a:cubicBezTo>
                <a:cubicBezTo>
                  <a:pt x="597" y="1448"/>
                  <a:pt x="593" y="1452"/>
                  <a:pt x="592" y="1450"/>
                </a:cubicBezTo>
                <a:cubicBezTo>
                  <a:pt x="593" y="1444"/>
                  <a:pt x="588" y="1444"/>
                  <a:pt x="591" y="1438"/>
                </a:cubicBezTo>
                <a:cubicBezTo>
                  <a:pt x="584" y="1439"/>
                  <a:pt x="584" y="1439"/>
                  <a:pt x="584" y="1439"/>
                </a:cubicBezTo>
                <a:cubicBezTo>
                  <a:pt x="578" y="1425"/>
                  <a:pt x="542" y="1377"/>
                  <a:pt x="534" y="1363"/>
                </a:cubicBezTo>
                <a:cubicBezTo>
                  <a:pt x="536" y="1363"/>
                  <a:pt x="536" y="1363"/>
                  <a:pt x="536" y="1363"/>
                </a:cubicBezTo>
                <a:cubicBezTo>
                  <a:pt x="522" y="1344"/>
                  <a:pt x="503" y="1300"/>
                  <a:pt x="484" y="1281"/>
                </a:cubicBezTo>
                <a:cubicBezTo>
                  <a:pt x="489" y="1275"/>
                  <a:pt x="486" y="1271"/>
                  <a:pt x="486" y="1266"/>
                </a:cubicBezTo>
                <a:cubicBezTo>
                  <a:pt x="484" y="1270"/>
                  <a:pt x="479" y="1271"/>
                  <a:pt x="479" y="1269"/>
                </a:cubicBezTo>
                <a:cubicBezTo>
                  <a:pt x="475" y="1258"/>
                  <a:pt x="474" y="1271"/>
                  <a:pt x="467" y="1261"/>
                </a:cubicBezTo>
                <a:cubicBezTo>
                  <a:pt x="455" y="1250"/>
                  <a:pt x="443" y="1197"/>
                  <a:pt x="444" y="1183"/>
                </a:cubicBezTo>
                <a:cubicBezTo>
                  <a:pt x="432" y="1181"/>
                  <a:pt x="437" y="1170"/>
                  <a:pt x="429" y="1166"/>
                </a:cubicBezTo>
                <a:cubicBezTo>
                  <a:pt x="431" y="1166"/>
                  <a:pt x="431" y="1166"/>
                  <a:pt x="431" y="1166"/>
                </a:cubicBezTo>
                <a:cubicBezTo>
                  <a:pt x="425" y="1160"/>
                  <a:pt x="421" y="1119"/>
                  <a:pt x="415" y="1113"/>
                </a:cubicBezTo>
                <a:cubicBezTo>
                  <a:pt x="414" y="1114"/>
                  <a:pt x="414" y="1114"/>
                  <a:pt x="414" y="1114"/>
                </a:cubicBezTo>
                <a:cubicBezTo>
                  <a:pt x="406" y="1109"/>
                  <a:pt x="417" y="1107"/>
                  <a:pt x="419" y="1100"/>
                </a:cubicBezTo>
                <a:cubicBezTo>
                  <a:pt x="408" y="1105"/>
                  <a:pt x="400" y="1101"/>
                  <a:pt x="398" y="1099"/>
                </a:cubicBezTo>
                <a:cubicBezTo>
                  <a:pt x="401" y="1098"/>
                  <a:pt x="401" y="1098"/>
                  <a:pt x="401" y="1098"/>
                </a:cubicBezTo>
                <a:cubicBezTo>
                  <a:pt x="398" y="1095"/>
                  <a:pt x="386" y="1091"/>
                  <a:pt x="383" y="1086"/>
                </a:cubicBezTo>
                <a:cubicBezTo>
                  <a:pt x="389" y="1084"/>
                  <a:pt x="389" y="1084"/>
                  <a:pt x="389" y="1084"/>
                </a:cubicBezTo>
                <a:cubicBezTo>
                  <a:pt x="381" y="1081"/>
                  <a:pt x="381" y="1072"/>
                  <a:pt x="379" y="1068"/>
                </a:cubicBezTo>
                <a:cubicBezTo>
                  <a:pt x="379" y="1060"/>
                  <a:pt x="387" y="1045"/>
                  <a:pt x="376" y="1037"/>
                </a:cubicBezTo>
                <a:cubicBezTo>
                  <a:pt x="391" y="1025"/>
                  <a:pt x="391" y="1025"/>
                  <a:pt x="391" y="1025"/>
                </a:cubicBezTo>
                <a:cubicBezTo>
                  <a:pt x="389" y="1025"/>
                  <a:pt x="389" y="1025"/>
                  <a:pt x="389" y="1025"/>
                </a:cubicBezTo>
                <a:cubicBezTo>
                  <a:pt x="389" y="1025"/>
                  <a:pt x="336" y="1037"/>
                  <a:pt x="278" y="1052"/>
                </a:cubicBezTo>
                <a:cubicBezTo>
                  <a:pt x="220" y="1068"/>
                  <a:pt x="157" y="1086"/>
                  <a:pt x="136" y="1101"/>
                </a:cubicBezTo>
                <a:cubicBezTo>
                  <a:pt x="130" y="1102"/>
                  <a:pt x="130" y="1102"/>
                  <a:pt x="130" y="1102"/>
                </a:cubicBezTo>
                <a:cubicBezTo>
                  <a:pt x="132" y="1105"/>
                  <a:pt x="132" y="1105"/>
                  <a:pt x="132" y="1105"/>
                </a:cubicBezTo>
                <a:cubicBezTo>
                  <a:pt x="130" y="1110"/>
                  <a:pt x="138" y="1109"/>
                  <a:pt x="132" y="1111"/>
                </a:cubicBezTo>
                <a:cubicBezTo>
                  <a:pt x="131" y="1106"/>
                  <a:pt x="131" y="1106"/>
                  <a:pt x="131" y="1106"/>
                </a:cubicBezTo>
                <a:cubicBezTo>
                  <a:pt x="130" y="1110"/>
                  <a:pt x="126" y="1108"/>
                  <a:pt x="122" y="1108"/>
                </a:cubicBezTo>
                <a:cubicBezTo>
                  <a:pt x="122" y="1109"/>
                  <a:pt x="122" y="1111"/>
                  <a:pt x="120" y="1113"/>
                </a:cubicBezTo>
                <a:cubicBezTo>
                  <a:pt x="123" y="1113"/>
                  <a:pt x="123" y="1112"/>
                  <a:pt x="124" y="1111"/>
                </a:cubicBezTo>
                <a:cubicBezTo>
                  <a:pt x="127" y="1112"/>
                  <a:pt x="133" y="1113"/>
                  <a:pt x="131" y="1117"/>
                </a:cubicBezTo>
                <a:cubicBezTo>
                  <a:pt x="131" y="1121"/>
                  <a:pt x="121" y="1120"/>
                  <a:pt x="122" y="1124"/>
                </a:cubicBezTo>
                <a:cubicBezTo>
                  <a:pt x="124" y="1150"/>
                  <a:pt x="124" y="1175"/>
                  <a:pt x="133" y="1199"/>
                </a:cubicBezTo>
                <a:cubicBezTo>
                  <a:pt x="131" y="1200"/>
                  <a:pt x="131" y="1199"/>
                  <a:pt x="129" y="1199"/>
                </a:cubicBezTo>
                <a:cubicBezTo>
                  <a:pt x="134" y="1205"/>
                  <a:pt x="135" y="1212"/>
                  <a:pt x="140" y="1218"/>
                </a:cubicBezTo>
                <a:cubicBezTo>
                  <a:pt x="138" y="1221"/>
                  <a:pt x="135" y="1222"/>
                  <a:pt x="132" y="1224"/>
                </a:cubicBezTo>
                <a:cubicBezTo>
                  <a:pt x="137" y="1221"/>
                  <a:pt x="150" y="1258"/>
                  <a:pt x="149" y="1259"/>
                </a:cubicBezTo>
                <a:cubicBezTo>
                  <a:pt x="160" y="1256"/>
                  <a:pt x="160" y="1256"/>
                  <a:pt x="160" y="1256"/>
                </a:cubicBezTo>
                <a:cubicBezTo>
                  <a:pt x="162" y="1263"/>
                  <a:pt x="148" y="1262"/>
                  <a:pt x="153" y="1268"/>
                </a:cubicBezTo>
                <a:cubicBezTo>
                  <a:pt x="169" y="1265"/>
                  <a:pt x="155" y="1279"/>
                  <a:pt x="164" y="1278"/>
                </a:cubicBezTo>
                <a:cubicBezTo>
                  <a:pt x="163" y="1279"/>
                  <a:pt x="164" y="1282"/>
                  <a:pt x="159" y="1284"/>
                </a:cubicBezTo>
                <a:cubicBezTo>
                  <a:pt x="167" y="1282"/>
                  <a:pt x="162" y="1286"/>
                  <a:pt x="165" y="1288"/>
                </a:cubicBezTo>
                <a:cubicBezTo>
                  <a:pt x="167" y="1287"/>
                  <a:pt x="167" y="1286"/>
                  <a:pt x="169" y="1285"/>
                </a:cubicBezTo>
                <a:cubicBezTo>
                  <a:pt x="174" y="1288"/>
                  <a:pt x="174" y="1288"/>
                  <a:pt x="174" y="1288"/>
                </a:cubicBezTo>
                <a:cubicBezTo>
                  <a:pt x="172" y="1291"/>
                  <a:pt x="167" y="1293"/>
                  <a:pt x="165" y="1292"/>
                </a:cubicBezTo>
                <a:cubicBezTo>
                  <a:pt x="167" y="1305"/>
                  <a:pt x="181" y="1365"/>
                  <a:pt x="190" y="1376"/>
                </a:cubicBezTo>
                <a:cubicBezTo>
                  <a:pt x="196" y="1372"/>
                  <a:pt x="190" y="1370"/>
                  <a:pt x="199" y="1364"/>
                </a:cubicBezTo>
                <a:cubicBezTo>
                  <a:pt x="206" y="1365"/>
                  <a:pt x="199" y="1370"/>
                  <a:pt x="205" y="1369"/>
                </a:cubicBezTo>
                <a:cubicBezTo>
                  <a:pt x="192" y="1377"/>
                  <a:pt x="205" y="1378"/>
                  <a:pt x="192" y="1387"/>
                </a:cubicBezTo>
                <a:cubicBezTo>
                  <a:pt x="200" y="1384"/>
                  <a:pt x="200" y="1384"/>
                  <a:pt x="200" y="1384"/>
                </a:cubicBezTo>
                <a:cubicBezTo>
                  <a:pt x="196" y="1388"/>
                  <a:pt x="196" y="1388"/>
                  <a:pt x="196" y="1388"/>
                </a:cubicBezTo>
                <a:cubicBezTo>
                  <a:pt x="210" y="1399"/>
                  <a:pt x="201" y="1390"/>
                  <a:pt x="205" y="1404"/>
                </a:cubicBezTo>
                <a:cubicBezTo>
                  <a:pt x="209" y="1411"/>
                  <a:pt x="222" y="1409"/>
                  <a:pt x="220" y="1415"/>
                </a:cubicBezTo>
                <a:cubicBezTo>
                  <a:pt x="219" y="1414"/>
                  <a:pt x="224" y="1410"/>
                  <a:pt x="226" y="1411"/>
                </a:cubicBezTo>
                <a:cubicBezTo>
                  <a:pt x="220" y="1415"/>
                  <a:pt x="234" y="1414"/>
                  <a:pt x="227" y="1418"/>
                </a:cubicBezTo>
                <a:cubicBezTo>
                  <a:pt x="229" y="1420"/>
                  <a:pt x="230" y="1426"/>
                  <a:pt x="239" y="1420"/>
                </a:cubicBezTo>
                <a:cubicBezTo>
                  <a:pt x="235" y="1423"/>
                  <a:pt x="235" y="1430"/>
                  <a:pt x="230" y="1428"/>
                </a:cubicBezTo>
                <a:cubicBezTo>
                  <a:pt x="230" y="1430"/>
                  <a:pt x="230" y="1433"/>
                  <a:pt x="232" y="1433"/>
                </a:cubicBezTo>
                <a:cubicBezTo>
                  <a:pt x="234" y="1429"/>
                  <a:pt x="234" y="1429"/>
                  <a:pt x="234" y="1429"/>
                </a:cubicBezTo>
                <a:cubicBezTo>
                  <a:pt x="238" y="1435"/>
                  <a:pt x="232" y="1442"/>
                  <a:pt x="242" y="1442"/>
                </a:cubicBezTo>
                <a:cubicBezTo>
                  <a:pt x="245" y="1438"/>
                  <a:pt x="245" y="1438"/>
                  <a:pt x="245" y="1438"/>
                </a:cubicBezTo>
                <a:cubicBezTo>
                  <a:pt x="247" y="1441"/>
                  <a:pt x="249" y="1444"/>
                  <a:pt x="241" y="1450"/>
                </a:cubicBezTo>
                <a:cubicBezTo>
                  <a:pt x="236" y="1447"/>
                  <a:pt x="236" y="1447"/>
                  <a:pt x="236" y="1447"/>
                </a:cubicBezTo>
                <a:cubicBezTo>
                  <a:pt x="239" y="1454"/>
                  <a:pt x="242" y="1457"/>
                  <a:pt x="249" y="1459"/>
                </a:cubicBezTo>
                <a:cubicBezTo>
                  <a:pt x="248" y="1458"/>
                  <a:pt x="248" y="1458"/>
                  <a:pt x="248" y="1458"/>
                </a:cubicBezTo>
                <a:cubicBezTo>
                  <a:pt x="260" y="1459"/>
                  <a:pt x="284" y="1489"/>
                  <a:pt x="298" y="1488"/>
                </a:cubicBezTo>
                <a:cubicBezTo>
                  <a:pt x="304" y="1482"/>
                  <a:pt x="304" y="1482"/>
                  <a:pt x="304" y="1482"/>
                </a:cubicBezTo>
                <a:cubicBezTo>
                  <a:pt x="312" y="1483"/>
                  <a:pt x="312" y="1483"/>
                  <a:pt x="312" y="1483"/>
                </a:cubicBezTo>
                <a:cubicBezTo>
                  <a:pt x="312" y="1483"/>
                  <a:pt x="288" y="1494"/>
                  <a:pt x="290" y="1492"/>
                </a:cubicBezTo>
                <a:cubicBezTo>
                  <a:pt x="296" y="1503"/>
                  <a:pt x="329" y="1555"/>
                  <a:pt x="330" y="1567"/>
                </a:cubicBezTo>
                <a:cubicBezTo>
                  <a:pt x="328" y="1574"/>
                  <a:pt x="319" y="1575"/>
                  <a:pt x="318" y="1575"/>
                </a:cubicBezTo>
                <a:cubicBezTo>
                  <a:pt x="323" y="1579"/>
                  <a:pt x="326" y="1573"/>
                  <a:pt x="328" y="1577"/>
                </a:cubicBezTo>
                <a:cubicBezTo>
                  <a:pt x="327" y="1579"/>
                  <a:pt x="322" y="1580"/>
                  <a:pt x="321" y="1580"/>
                </a:cubicBezTo>
                <a:cubicBezTo>
                  <a:pt x="323" y="1582"/>
                  <a:pt x="321" y="1585"/>
                  <a:pt x="324" y="1583"/>
                </a:cubicBezTo>
                <a:cubicBezTo>
                  <a:pt x="326" y="1579"/>
                  <a:pt x="335" y="1575"/>
                  <a:pt x="340" y="1571"/>
                </a:cubicBezTo>
                <a:cubicBezTo>
                  <a:pt x="342" y="1576"/>
                  <a:pt x="342" y="1576"/>
                  <a:pt x="342" y="1576"/>
                </a:cubicBezTo>
                <a:cubicBezTo>
                  <a:pt x="336" y="1579"/>
                  <a:pt x="336" y="1579"/>
                  <a:pt x="336" y="1579"/>
                </a:cubicBezTo>
                <a:cubicBezTo>
                  <a:pt x="337" y="1581"/>
                  <a:pt x="353" y="1573"/>
                  <a:pt x="353" y="1580"/>
                </a:cubicBezTo>
                <a:cubicBezTo>
                  <a:pt x="355" y="1590"/>
                  <a:pt x="362" y="1598"/>
                  <a:pt x="365" y="1608"/>
                </a:cubicBezTo>
                <a:cubicBezTo>
                  <a:pt x="362" y="1609"/>
                  <a:pt x="359" y="1609"/>
                  <a:pt x="356" y="1608"/>
                </a:cubicBezTo>
                <a:cubicBezTo>
                  <a:pt x="357" y="1610"/>
                  <a:pt x="358" y="1611"/>
                  <a:pt x="357" y="1613"/>
                </a:cubicBezTo>
                <a:cubicBezTo>
                  <a:pt x="361" y="1608"/>
                  <a:pt x="362" y="1614"/>
                  <a:pt x="364" y="1611"/>
                </a:cubicBezTo>
                <a:cubicBezTo>
                  <a:pt x="381" y="1609"/>
                  <a:pt x="373" y="1625"/>
                  <a:pt x="385" y="1625"/>
                </a:cubicBezTo>
                <a:cubicBezTo>
                  <a:pt x="397" y="1618"/>
                  <a:pt x="593" y="1502"/>
                  <a:pt x="606" y="1492"/>
                </a:cubicBezTo>
                <a:cubicBezTo>
                  <a:pt x="607" y="1494"/>
                  <a:pt x="608" y="1496"/>
                  <a:pt x="607" y="1497"/>
                </a:cubicBezTo>
                <a:cubicBezTo>
                  <a:pt x="610" y="1494"/>
                  <a:pt x="610" y="1490"/>
                  <a:pt x="607" y="1490"/>
                </a:cubicBezTo>
                <a:cubicBezTo>
                  <a:pt x="599" y="1495"/>
                  <a:pt x="599" y="1495"/>
                  <a:pt x="599" y="1495"/>
                </a:cubicBezTo>
                <a:cubicBezTo>
                  <a:pt x="595" y="1493"/>
                  <a:pt x="603" y="1491"/>
                  <a:pt x="601" y="1488"/>
                </a:cubicBezTo>
                <a:cubicBezTo>
                  <a:pt x="607" y="1484"/>
                  <a:pt x="610" y="1486"/>
                  <a:pt x="612" y="1488"/>
                </a:cubicBezTo>
                <a:cubicBezTo>
                  <a:pt x="611" y="1485"/>
                  <a:pt x="614" y="1480"/>
                  <a:pt x="607" y="1483"/>
                </a:cubicBezTo>
                <a:cubicBezTo>
                  <a:pt x="608" y="1479"/>
                  <a:pt x="615" y="1479"/>
                  <a:pt x="616" y="1474"/>
                </a:cubicBezTo>
                <a:cubicBezTo>
                  <a:pt x="613" y="1473"/>
                  <a:pt x="605" y="1475"/>
                  <a:pt x="608" y="1470"/>
                </a:cubicBezTo>
                <a:close/>
                <a:moveTo>
                  <a:pt x="1313" y="2196"/>
                </a:moveTo>
                <a:cubicBezTo>
                  <a:pt x="1309" y="2205"/>
                  <a:pt x="1309" y="2205"/>
                  <a:pt x="1309" y="2205"/>
                </a:cubicBezTo>
                <a:cubicBezTo>
                  <a:pt x="1304" y="2206"/>
                  <a:pt x="1310" y="2199"/>
                  <a:pt x="1307" y="2198"/>
                </a:cubicBezTo>
                <a:cubicBezTo>
                  <a:pt x="1310" y="2190"/>
                  <a:pt x="1313" y="2191"/>
                  <a:pt x="1316" y="2191"/>
                </a:cubicBezTo>
                <a:cubicBezTo>
                  <a:pt x="1314" y="2189"/>
                  <a:pt x="1314" y="2183"/>
                  <a:pt x="1310" y="2190"/>
                </a:cubicBezTo>
                <a:cubicBezTo>
                  <a:pt x="1309" y="2186"/>
                  <a:pt x="1314" y="2181"/>
                  <a:pt x="1312" y="2177"/>
                </a:cubicBezTo>
                <a:cubicBezTo>
                  <a:pt x="1309" y="2178"/>
                  <a:pt x="1304" y="2183"/>
                  <a:pt x="1304" y="2178"/>
                </a:cubicBezTo>
                <a:cubicBezTo>
                  <a:pt x="1304" y="2177"/>
                  <a:pt x="1304" y="2177"/>
                  <a:pt x="1304" y="2177"/>
                </a:cubicBezTo>
                <a:cubicBezTo>
                  <a:pt x="1302" y="2166"/>
                  <a:pt x="1291" y="2183"/>
                  <a:pt x="1290" y="2173"/>
                </a:cubicBezTo>
                <a:cubicBezTo>
                  <a:pt x="1291" y="2171"/>
                  <a:pt x="1291" y="2171"/>
                  <a:pt x="1291" y="2171"/>
                </a:cubicBezTo>
                <a:cubicBezTo>
                  <a:pt x="1291" y="2166"/>
                  <a:pt x="1285" y="2169"/>
                  <a:pt x="1284" y="2163"/>
                </a:cubicBezTo>
                <a:cubicBezTo>
                  <a:pt x="1285" y="2165"/>
                  <a:pt x="1283" y="2171"/>
                  <a:pt x="1281" y="2170"/>
                </a:cubicBezTo>
                <a:cubicBezTo>
                  <a:pt x="1279" y="2164"/>
                  <a:pt x="1275" y="2167"/>
                  <a:pt x="1275" y="2160"/>
                </a:cubicBezTo>
                <a:cubicBezTo>
                  <a:pt x="1269" y="2165"/>
                  <a:pt x="1269" y="2165"/>
                  <a:pt x="1269" y="2165"/>
                </a:cubicBezTo>
                <a:cubicBezTo>
                  <a:pt x="1257" y="2157"/>
                  <a:pt x="1204" y="2137"/>
                  <a:pt x="1192" y="2129"/>
                </a:cubicBezTo>
                <a:cubicBezTo>
                  <a:pt x="1193" y="2128"/>
                  <a:pt x="1193" y="2128"/>
                  <a:pt x="1193" y="2128"/>
                </a:cubicBezTo>
                <a:cubicBezTo>
                  <a:pt x="1172" y="2120"/>
                  <a:pt x="1135" y="2093"/>
                  <a:pt x="1111" y="2088"/>
                </a:cubicBezTo>
                <a:cubicBezTo>
                  <a:pt x="1112" y="2079"/>
                  <a:pt x="1107" y="2078"/>
                  <a:pt x="1105" y="2074"/>
                </a:cubicBezTo>
                <a:cubicBezTo>
                  <a:pt x="1105" y="2078"/>
                  <a:pt x="1102" y="2082"/>
                  <a:pt x="1101" y="2081"/>
                </a:cubicBezTo>
                <a:cubicBezTo>
                  <a:pt x="1092" y="2073"/>
                  <a:pt x="1098" y="2085"/>
                  <a:pt x="1087" y="2080"/>
                </a:cubicBezTo>
                <a:cubicBezTo>
                  <a:pt x="1073" y="2078"/>
                  <a:pt x="1036" y="2039"/>
                  <a:pt x="1031" y="2026"/>
                </a:cubicBezTo>
                <a:cubicBezTo>
                  <a:pt x="1020" y="2031"/>
                  <a:pt x="1018" y="2019"/>
                  <a:pt x="1010" y="2021"/>
                </a:cubicBezTo>
                <a:cubicBezTo>
                  <a:pt x="1012" y="2019"/>
                  <a:pt x="1012" y="2019"/>
                  <a:pt x="1012" y="2019"/>
                </a:cubicBezTo>
                <a:cubicBezTo>
                  <a:pt x="1004" y="2018"/>
                  <a:pt x="981" y="1985"/>
                  <a:pt x="973" y="1983"/>
                </a:cubicBezTo>
                <a:cubicBezTo>
                  <a:pt x="973" y="1984"/>
                  <a:pt x="973" y="1984"/>
                  <a:pt x="973" y="1984"/>
                </a:cubicBezTo>
                <a:cubicBezTo>
                  <a:pt x="964" y="1985"/>
                  <a:pt x="971" y="1976"/>
                  <a:pt x="969" y="1970"/>
                </a:cubicBezTo>
                <a:cubicBezTo>
                  <a:pt x="963" y="1980"/>
                  <a:pt x="954" y="1981"/>
                  <a:pt x="952" y="1981"/>
                </a:cubicBezTo>
                <a:cubicBezTo>
                  <a:pt x="954" y="1979"/>
                  <a:pt x="954" y="1979"/>
                  <a:pt x="954" y="1979"/>
                </a:cubicBezTo>
                <a:cubicBezTo>
                  <a:pt x="950" y="1978"/>
                  <a:pt x="938" y="1981"/>
                  <a:pt x="933" y="1978"/>
                </a:cubicBezTo>
                <a:cubicBezTo>
                  <a:pt x="937" y="1973"/>
                  <a:pt x="937" y="1973"/>
                  <a:pt x="937" y="1973"/>
                </a:cubicBezTo>
                <a:cubicBezTo>
                  <a:pt x="929" y="1976"/>
                  <a:pt x="925" y="1967"/>
                  <a:pt x="922" y="1966"/>
                </a:cubicBezTo>
                <a:cubicBezTo>
                  <a:pt x="918" y="1958"/>
                  <a:pt x="916" y="1941"/>
                  <a:pt x="903" y="1940"/>
                </a:cubicBezTo>
                <a:cubicBezTo>
                  <a:pt x="910" y="1921"/>
                  <a:pt x="910" y="1921"/>
                  <a:pt x="910" y="1921"/>
                </a:cubicBezTo>
                <a:cubicBezTo>
                  <a:pt x="909" y="1922"/>
                  <a:pt x="909" y="1922"/>
                  <a:pt x="909" y="1922"/>
                </a:cubicBezTo>
                <a:cubicBezTo>
                  <a:pt x="909" y="1922"/>
                  <a:pt x="871" y="1964"/>
                  <a:pt x="831" y="2012"/>
                </a:cubicBezTo>
                <a:cubicBezTo>
                  <a:pt x="791" y="2060"/>
                  <a:pt x="749" y="2114"/>
                  <a:pt x="739" y="2138"/>
                </a:cubicBezTo>
                <a:cubicBezTo>
                  <a:pt x="735" y="2143"/>
                  <a:pt x="735" y="2143"/>
                  <a:pt x="735" y="2143"/>
                </a:cubicBezTo>
                <a:cubicBezTo>
                  <a:pt x="738" y="2145"/>
                  <a:pt x="738" y="2145"/>
                  <a:pt x="738" y="2145"/>
                </a:cubicBezTo>
                <a:cubicBezTo>
                  <a:pt x="739" y="2150"/>
                  <a:pt x="744" y="2145"/>
                  <a:pt x="740" y="2150"/>
                </a:cubicBezTo>
                <a:cubicBezTo>
                  <a:pt x="737" y="2146"/>
                  <a:pt x="737" y="2146"/>
                  <a:pt x="737" y="2146"/>
                </a:cubicBezTo>
                <a:cubicBezTo>
                  <a:pt x="739" y="2150"/>
                  <a:pt x="735" y="2151"/>
                  <a:pt x="731" y="2153"/>
                </a:cubicBezTo>
                <a:cubicBezTo>
                  <a:pt x="732" y="2155"/>
                  <a:pt x="733" y="2156"/>
                  <a:pt x="732" y="2159"/>
                </a:cubicBezTo>
                <a:cubicBezTo>
                  <a:pt x="734" y="2157"/>
                  <a:pt x="733" y="2156"/>
                  <a:pt x="734" y="2155"/>
                </a:cubicBezTo>
                <a:cubicBezTo>
                  <a:pt x="737" y="2154"/>
                  <a:pt x="743" y="2151"/>
                  <a:pt x="743" y="2155"/>
                </a:cubicBezTo>
                <a:cubicBezTo>
                  <a:pt x="745" y="2159"/>
                  <a:pt x="736" y="2164"/>
                  <a:pt x="739" y="2168"/>
                </a:cubicBezTo>
                <a:cubicBezTo>
                  <a:pt x="753" y="2188"/>
                  <a:pt x="765" y="2211"/>
                  <a:pt x="784" y="2226"/>
                </a:cubicBezTo>
                <a:cubicBezTo>
                  <a:pt x="783" y="2228"/>
                  <a:pt x="783" y="2228"/>
                  <a:pt x="781" y="2228"/>
                </a:cubicBezTo>
                <a:cubicBezTo>
                  <a:pt x="788" y="2231"/>
                  <a:pt x="793" y="2236"/>
                  <a:pt x="799" y="2238"/>
                </a:cubicBezTo>
                <a:cubicBezTo>
                  <a:pt x="799" y="2242"/>
                  <a:pt x="797" y="2245"/>
                  <a:pt x="796" y="2248"/>
                </a:cubicBezTo>
                <a:cubicBezTo>
                  <a:pt x="798" y="2243"/>
                  <a:pt x="827" y="2267"/>
                  <a:pt x="827" y="2269"/>
                </a:cubicBezTo>
                <a:cubicBezTo>
                  <a:pt x="834" y="2259"/>
                  <a:pt x="834" y="2259"/>
                  <a:pt x="834" y="2259"/>
                </a:cubicBezTo>
                <a:cubicBezTo>
                  <a:pt x="839" y="2264"/>
                  <a:pt x="828" y="2272"/>
                  <a:pt x="834" y="2274"/>
                </a:cubicBezTo>
                <a:cubicBezTo>
                  <a:pt x="846" y="2262"/>
                  <a:pt x="842" y="2282"/>
                  <a:pt x="848" y="2276"/>
                </a:cubicBezTo>
                <a:cubicBezTo>
                  <a:pt x="848" y="2278"/>
                  <a:pt x="850" y="2280"/>
                  <a:pt x="847" y="2284"/>
                </a:cubicBezTo>
                <a:cubicBezTo>
                  <a:pt x="853" y="2277"/>
                  <a:pt x="850" y="2285"/>
                  <a:pt x="853" y="2284"/>
                </a:cubicBezTo>
                <a:cubicBezTo>
                  <a:pt x="855" y="2282"/>
                  <a:pt x="854" y="2281"/>
                  <a:pt x="856" y="2279"/>
                </a:cubicBezTo>
                <a:cubicBezTo>
                  <a:pt x="861" y="2279"/>
                  <a:pt x="861" y="2279"/>
                  <a:pt x="861" y="2279"/>
                </a:cubicBezTo>
                <a:cubicBezTo>
                  <a:pt x="861" y="2283"/>
                  <a:pt x="858" y="2287"/>
                  <a:pt x="856" y="2287"/>
                </a:cubicBezTo>
                <a:cubicBezTo>
                  <a:pt x="863" y="2298"/>
                  <a:pt x="905" y="2342"/>
                  <a:pt x="918" y="2346"/>
                </a:cubicBezTo>
                <a:cubicBezTo>
                  <a:pt x="920" y="2339"/>
                  <a:pt x="914" y="2340"/>
                  <a:pt x="919" y="2330"/>
                </a:cubicBezTo>
                <a:cubicBezTo>
                  <a:pt x="925" y="2327"/>
                  <a:pt x="922" y="2335"/>
                  <a:pt x="926" y="2330"/>
                </a:cubicBezTo>
                <a:cubicBezTo>
                  <a:pt x="919" y="2345"/>
                  <a:pt x="930" y="2338"/>
                  <a:pt x="924" y="2354"/>
                </a:cubicBezTo>
                <a:cubicBezTo>
                  <a:pt x="929" y="2347"/>
                  <a:pt x="929" y="2347"/>
                  <a:pt x="929" y="2347"/>
                </a:cubicBezTo>
                <a:cubicBezTo>
                  <a:pt x="928" y="2353"/>
                  <a:pt x="928" y="2353"/>
                  <a:pt x="928" y="2353"/>
                </a:cubicBezTo>
                <a:cubicBezTo>
                  <a:pt x="945" y="2354"/>
                  <a:pt x="933" y="2351"/>
                  <a:pt x="943" y="2361"/>
                </a:cubicBezTo>
                <a:cubicBezTo>
                  <a:pt x="950" y="2364"/>
                  <a:pt x="959" y="2355"/>
                  <a:pt x="960" y="2362"/>
                </a:cubicBezTo>
                <a:cubicBezTo>
                  <a:pt x="960" y="2362"/>
                  <a:pt x="961" y="2356"/>
                  <a:pt x="964" y="2355"/>
                </a:cubicBezTo>
                <a:cubicBezTo>
                  <a:pt x="960" y="2362"/>
                  <a:pt x="971" y="2353"/>
                  <a:pt x="968" y="2361"/>
                </a:cubicBezTo>
                <a:cubicBezTo>
                  <a:pt x="970" y="2361"/>
                  <a:pt x="975" y="2366"/>
                  <a:pt x="978" y="2355"/>
                </a:cubicBezTo>
                <a:cubicBezTo>
                  <a:pt x="977" y="2360"/>
                  <a:pt x="980" y="2365"/>
                  <a:pt x="975" y="2368"/>
                </a:cubicBezTo>
                <a:cubicBezTo>
                  <a:pt x="976" y="2369"/>
                  <a:pt x="977" y="2372"/>
                  <a:pt x="979" y="2370"/>
                </a:cubicBezTo>
                <a:cubicBezTo>
                  <a:pt x="979" y="2366"/>
                  <a:pt x="979" y="2366"/>
                  <a:pt x="979" y="2366"/>
                </a:cubicBezTo>
                <a:cubicBezTo>
                  <a:pt x="985" y="2368"/>
                  <a:pt x="984" y="2378"/>
                  <a:pt x="992" y="2372"/>
                </a:cubicBezTo>
                <a:cubicBezTo>
                  <a:pt x="992" y="2366"/>
                  <a:pt x="992" y="2366"/>
                  <a:pt x="992" y="2366"/>
                </a:cubicBezTo>
                <a:cubicBezTo>
                  <a:pt x="996" y="2368"/>
                  <a:pt x="999" y="2369"/>
                  <a:pt x="995" y="2380"/>
                </a:cubicBezTo>
                <a:cubicBezTo>
                  <a:pt x="990" y="2380"/>
                  <a:pt x="990" y="2380"/>
                  <a:pt x="990" y="2380"/>
                </a:cubicBezTo>
                <a:cubicBezTo>
                  <a:pt x="995" y="2384"/>
                  <a:pt x="999" y="2385"/>
                  <a:pt x="1006" y="2383"/>
                </a:cubicBezTo>
                <a:cubicBezTo>
                  <a:pt x="1004" y="2382"/>
                  <a:pt x="1004" y="2382"/>
                  <a:pt x="1004" y="2382"/>
                </a:cubicBezTo>
                <a:cubicBezTo>
                  <a:pt x="1015" y="2376"/>
                  <a:pt x="1049" y="2388"/>
                  <a:pt x="1060" y="2379"/>
                </a:cubicBezTo>
                <a:cubicBezTo>
                  <a:pt x="1062" y="2370"/>
                  <a:pt x="1062" y="2370"/>
                  <a:pt x="1062" y="2370"/>
                </a:cubicBezTo>
                <a:cubicBezTo>
                  <a:pt x="1069" y="2366"/>
                  <a:pt x="1069" y="2366"/>
                  <a:pt x="1069" y="2366"/>
                </a:cubicBezTo>
                <a:cubicBezTo>
                  <a:pt x="1069" y="2366"/>
                  <a:pt x="1054" y="2390"/>
                  <a:pt x="1055" y="2387"/>
                </a:cubicBezTo>
                <a:cubicBezTo>
                  <a:pt x="1065" y="2393"/>
                  <a:pt x="1118" y="2419"/>
                  <a:pt x="1124" y="2429"/>
                </a:cubicBezTo>
                <a:cubicBezTo>
                  <a:pt x="1126" y="2435"/>
                  <a:pt x="1119" y="2442"/>
                  <a:pt x="1119" y="2443"/>
                </a:cubicBezTo>
                <a:cubicBezTo>
                  <a:pt x="1124" y="2443"/>
                  <a:pt x="1124" y="2436"/>
                  <a:pt x="1128" y="2439"/>
                </a:cubicBezTo>
                <a:cubicBezTo>
                  <a:pt x="1128" y="2441"/>
                  <a:pt x="1125" y="2445"/>
                  <a:pt x="1124" y="2445"/>
                </a:cubicBezTo>
                <a:cubicBezTo>
                  <a:pt x="1126" y="2446"/>
                  <a:pt x="1126" y="2449"/>
                  <a:pt x="1128" y="2446"/>
                </a:cubicBezTo>
                <a:cubicBezTo>
                  <a:pt x="1127" y="2441"/>
                  <a:pt x="1132" y="2432"/>
                  <a:pt x="1134" y="2425"/>
                </a:cubicBezTo>
                <a:cubicBezTo>
                  <a:pt x="1139" y="2429"/>
                  <a:pt x="1139" y="2429"/>
                  <a:pt x="1139" y="2429"/>
                </a:cubicBezTo>
                <a:cubicBezTo>
                  <a:pt x="1136" y="2435"/>
                  <a:pt x="1136" y="2435"/>
                  <a:pt x="1136" y="2435"/>
                </a:cubicBezTo>
                <a:cubicBezTo>
                  <a:pt x="1137" y="2436"/>
                  <a:pt x="1146" y="2420"/>
                  <a:pt x="1149" y="2426"/>
                </a:cubicBezTo>
                <a:cubicBezTo>
                  <a:pt x="1156" y="2433"/>
                  <a:pt x="1166" y="2436"/>
                  <a:pt x="1173" y="2442"/>
                </a:cubicBezTo>
                <a:cubicBezTo>
                  <a:pt x="1171" y="2446"/>
                  <a:pt x="1169" y="2447"/>
                  <a:pt x="1166" y="2448"/>
                </a:cubicBezTo>
                <a:cubicBezTo>
                  <a:pt x="1167" y="2449"/>
                  <a:pt x="1169" y="2449"/>
                  <a:pt x="1169" y="2453"/>
                </a:cubicBezTo>
                <a:cubicBezTo>
                  <a:pt x="1170" y="2445"/>
                  <a:pt x="1174" y="2450"/>
                  <a:pt x="1174" y="2447"/>
                </a:cubicBezTo>
                <a:cubicBezTo>
                  <a:pt x="1186" y="2435"/>
                  <a:pt x="1188" y="2453"/>
                  <a:pt x="1198" y="2445"/>
                </a:cubicBezTo>
                <a:cubicBezTo>
                  <a:pt x="1204" y="2432"/>
                  <a:pt x="1307" y="2215"/>
                  <a:pt x="1314" y="2198"/>
                </a:cubicBezTo>
                <a:cubicBezTo>
                  <a:pt x="1315" y="2199"/>
                  <a:pt x="1316" y="2200"/>
                  <a:pt x="1316" y="2202"/>
                </a:cubicBezTo>
                <a:cubicBezTo>
                  <a:pt x="1317" y="2198"/>
                  <a:pt x="1315" y="2195"/>
                  <a:pt x="1313" y="2196"/>
                </a:cubicBezTo>
                <a:close/>
                <a:moveTo>
                  <a:pt x="1802" y="2747"/>
                </a:moveTo>
                <a:cubicBezTo>
                  <a:pt x="1803" y="2755"/>
                  <a:pt x="1806" y="2756"/>
                  <a:pt x="1808" y="2758"/>
                </a:cubicBezTo>
                <a:cubicBezTo>
                  <a:pt x="1807" y="2750"/>
                  <a:pt x="1805" y="2747"/>
                  <a:pt x="1802" y="2747"/>
                </a:cubicBezTo>
                <a:close/>
                <a:moveTo>
                  <a:pt x="2239" y="2390"/>
                </a:moveTo>
                <a:cubicBezTo>
                  <a:pt x="2238" y="2385"/>
                  <a:pt x="2234" y="2384"/>
                  <a:pt x="2233" y="2386"/>
                </a:cubicBezTo>
                <a:cubicBezTo>
                  <a:pt x="2234" y="2396"/>
                  <a:pt x="2234" y="2396"/>
                  <a:pt x="2234" y="2396"/>
                </a:cubicBezTo>
                <a:cubicBezTo>
                  <a:pt x="2231" y="2400"/>
                  <a:pt x="2233" y="2390"/>
                  <a:pt x="2229" y="2391"/>
                </a:cubicBezTo>
                <a:cubicBezTo>
                  <a:pt x="2228" y="2383"/>
                  <a:pt x="2231" y="2381"/>
                  <a:pt x="2234" y="2380"/>
                </a:cubicBezTo>
                <a:cubicBezTo>
                  <a:pt x="2231" y="2380"/>
                  <a:pt x="2228" y="2374"/>
                  <a:pt x="2228" y="2383"/>
                </a:cubicBezTo>
                <a:cubicBezTo>
                  <a:pt x="2225" y="2380"/>
                  <a:pt x="2227" y="2373"/>
                  <a:pt x="2223" y="2370"/>
                </a:cubicBezTo>
                <a:cubicBezTo>
                  <a:pt x="2222" y="2372"/>
                  <a:pt x="2220" y="2381"/>
                  <a:pt x="2217" y="2376"/>
                </a:cubicBezTo>
                <a:cubicBezTo>
                  <a:pt x="2217" y="2375"/>
                  <a:pt x="2217" y="2375"/>
                  <a:pt x="2217" y="2375"/>
                </a:cubicBezTo>
                <a:cubicBezTo>
                  <a:pt x="2210" y="2367"/>
                  <a:pt x="2209" y="2388"/>
                  <a:pt x="2203" y="2380"/>
                </a:cubicBezTo>
                <a:cubicBezTo>
                  <a:pt x="2203" y="2377"/>
                  <a:pt x="2203" y="2377"/>
                  <a:pt x="2203" y="2377"/>
                </a:cubicBezTo>
                <a:cubicBezTo>
                  <a:pt x="2201" y="2373"/>
                  <a:pt x="2198" y="2379"/>
                  <a:pt x="2194" y="2375"/>
                </a:cubicBezTo>
                <a:cubicBezTo>
                  <a:pt x="2195" y="2376"/>
                  <a:pt x="2197" y="2382"/>
                  <a:pt x="2195" y="2383"/>
                </a:cubicBezTo>
                <a:cubicBezTo>
                  <a:pt x="2190" y="2378"/>
                  <a:pt x="2188" y="2384"/>
                  <a:pt x="2184" y="2378"/>
                </a:cubicBezTo>
                <a:cubicBezTo>
                  <a:pt x="2183" y="2386"/>
                  <a:pt x="2183" y="2386"/>
                  <a:pt x="2183" y="2386"/>
                </a:cubicBezTo>
                <a:cubicBezTo>
                  <a:pt x="2169" y="2385"/>
                  <a:pt x="2116" y="2399"/>
                  <a:pt x="2102" y="2401"/>
                </a:cubicBezTo>
                <a:cubicBezTo>
                  <a:pt x="2102" y="2399"/>
                  <a:pt x="2102" y="2399"/>
                  <a:pt x="2102" y="2399"/>
                </a:cubicBezTo>
                <a:cubicBezTo>
                  <a:pt x="2081" y="2404"/>
                  <a:pt x="2038" y="2403"/>
                  <a:pt x="2016" y="2413"/>
                </a:cubicBezTo>
                <a:cubicBezTo>
                  <a:pt x="2013" y="2405"/>
                  <a:pt x="2008" y="2407"/>
                  <a:pt x="2004" y="2404"/>
                </a:cubicBezTo>
                <a:cubicBezTo>
                  <a:pt x="2006" y="2407"/>
                  <a:pt x="2006" y="2413"/>
                  <a:pt x="2004" y="2413"/>
                </a:cubicBezTo>
                <a:cubicBezTo>
                  <a:pt x="1993" y="2411"/>
                  <a:pt x="2003" y="2418"/>
                  <a:pt x="1992" y="2421"/>
                </a:cubicBezTo>
                <a:cubicBezTo>
                  <a:pt x="1980" y="2428"/>
                  <a:pt x="1931" y="2415"/>
                  <a:pt x="1920" y="2407"/>
                </a:cubicBezTo>
                <a:cubicBezTo>
                  <a:pt x="1914" y="2418"/>
                  <a:pt x="1907" y="2409"/>
                  <a:pt x="1900" y="2415"/>
                </a:cubicBezTo>
                <a:cubicBezTo>
                  <a:pt x="1901" y="2413"/>
                  <a:pt x="1901" y="2413"/>
                  <a:pt x="1901" y="2413"/>
                </a:cubicBezTo>
                <a:cubicBezTo>
                  <a:pt x="1894" y="2416"/>
                  <a:pt x="1859" y="2401"/>
                  <a:pt x="1852" y="2404"/>
                </a:cubicBezTo>
                <a:cubicBezTo>
                  <a:pt x="1852" y="2406"/>
                  <a:pt x="1852" y="2406"/>
                  <a:pt x="1852" y="2406"/>
                </a:cubicBezTo>
                <a:cubicBezTo>
                  <a:pt x="1845" y="2412"/>
                  <a:pt x="1847" y="2400"/>
                  <a:pt x="1843" y="2395"/>
                </a:cubicBezTo>
                <a:cubicBezTo>
                  <a:pt x="1842" y="2408"/>
                  <a:pt x="1836" y="2414"/>
                  <a:pt x="1834" y="2415"/>
                </a:cubicBezTo>
                <a:cubicBezTo>
                  <a:pt x="1834" y="2412"/>
                  <a:pt x="1834" y="2412"/>
                  <a:pt x="1834" y="2412"/>
                </a:cubicBezTo>
                <a:cubicBezTo>
                  <a:pt x="1831" y="2414"/>
                  <a:pt x="1823" y="2424"/>
                  <a:pt x="1817" y="2424"/>
                </a:cubicBezTo>
                <a:cubicBezTo>
                  <a:pt x="1818" y="2417"/>
                  <a:pt x="1818" y="2417"/>
                  <a:pt x="1818" y="2417"/>
                </a:cubicBezTo>
                <a:cubicBezTo>
                  <a:pt x="1813" y="2424"/>
                  <a:pt x="1805" y="2420"/>
                  <a:pt x="1802" y="2420"/>
                </a:cubicBezTo>
                <a:cubicBezTo>
                  <a:pt x="1795" y="2416"/>
                  <a:pt x="1785" y="2401"/>
                  <a:pt x="1774" y="2409"/>
                </a:cubicBezTo>
                <a:cubicBezTo>
                  <a:pt x="1770" y="2388"/>
                  <a:pt x="1770" y="2388"/>
                  <a:pt x="1770" y="2388"/>
                </a:cubicBezTo>
                <a:cubicBezTo>
                  <a:pt x="1769" y="2390"/>
                  <a:pt x="1769" y="2390"/>
                  <a:pt x="1769" y="2390"/>
                </a:cubicBezTo>
                <a:cubicBezTo>
                  <a:pt x="1769" y="2390"/>
                  <a:pt x="1760" y="2449"/>
                  <a:pt x="1751" y="2514"/>
                </a:cubicBezTo>
                <a:cubicBezTo>
                  <a:pt x="1742" y="2580"/>
                  <a:pt x="1733" y="2652"/>
                  <a:pt x="1738" y="2679"/>
                </a:cubicBezTo>
                <a:cubicBezTo>
                  <a:pt x="1736" y="2686"/>
                  <a:pt x="1736" y="2686"/>
                  <a:pt x="1736" y="2686"/>
                </a:cubicBezTo>
                <a:cubicBezTo>
                  <a:pt x="1739" y="2686"/>
                  <a:pt x="1739" y="2686"/>
                  <a:pt x="1739" y="2686"/>
                </a:cubicBezTo>
                <a:cubicBezTo>
                  <a:pt x="1743" y="2690"/>
                  <a:pt x="1745" y="2682"/>
                  <a:pt x="1744" y="2689"/>
                </a:cubicBezTo>
                <a:cubicBezTo>
                  <a:pt x="1739" y="2687"/>
                  <a:pt x="1739" y="2687"/>
                  <a:pt x="1739" y="2687"/>
                </a:cubicBezTo>
                <a:cubicBezTo>
                  <a:pt x="1743" y="2690"/>
                  <a:pt x="1740" y="2693"/>
                  <a:pt x="1738" y="2697"/>
                </a:cubicBezTo>
                <a:cubicBezTo>
                  <a:pt x="1739" y="2698"/>
                  <a:pt x="1741" y="2699"/>
                  <a:pt x="1742" y="2701"/>
                </a:cubicBezTo>
                <a:cubicBezTo>
                  <a:pt x="1743" y="2698"/>
                  <a:pt x="1741" y="2698"/>
                  <a:pt x="1741" y="2696"/>
                </a:cubicBezTo>
                <a:cubicBezTo>
                  <a:pt x="1743" y="2694"/>
                  <a:pt x="1747" y="2688"/>
                  <a:pt x="1748" y="2692"/>
                </a:cubicBezTo>
                <a:cubicBezTo>
                  <a:pt x="1752" y="2693"/>
                  <a:pt x="1747" y="2703"/>
                  <a:pt x="1752" y="2705"/>
                </a:cubicBezTo>
                <a:cubicBezTo>
                  <a:pt x="1773" y="2714"/>
                  <a:pt x="1794" y="2726"/>
                  <a:pt x="1817" y="2728"/>
                </a:cubicBezTo>
                <a:cubicBezTo>
                  <a:pt x="1817" y="2731"/>
                  <a:pt x="1816" y="2731"/>
                  <a:pt x="1816" y="2732"/>
                </a:cubicBezTo>
                <a:cubicBezTo>
                  <a:pt x="1823" y="2730"/>
                  <a:pt x="1829" y="2732"/>
                  <a:pt x="1835" y="2730"/>
                </a:cubicBezTo>
                <a:cubicBezTo>
                  <a:pt x="1836" y="2733"/>
                  <a:pt x="1837" y="2737"/>
                  <a:pt x="1837" y="2740"/>
                </a:cubicBezTo>
                <a:cubicBezTo>
                  <a:pt x="1836" y="2734"/>
                  <a:pt x="1872" y="2739"/>
                  <a:pt x="1872" y="2740"/>
                </a:cubicBezTo>
                <a:cubicBezTo>
                  <a:pt x="1873" y="2728"/>
                  <a:pt x="1873" y="2728"/>
                  <a:pt x="1873" y="2728"/>
                </a:cubicBezTo>
                <a:cubicBezTo>
                  <a:pt x="1880" y="2728"/>
                  <a:pt x="1874" y="2742"/>
                  <a:pt x="1881" y="2740"/>
                </a:cubicBezTo>
                <a:cubicBezTo>
                  <a:pt x="1884" y="2722"/>
                  <a:pt x="1891" y="2743"/>
                  <a:pt x="1894" y="2734"/>
                </a:cubicBezTo>
                <a:cubicBezTo>
                  <a:pt x="1894" y="2735"/>
                  <a:pt x="1897" y="2736"/>
                  <a:pt x="1896" y="2742"/>
                </a:cubicBezTo>
                <a:cubicBezTo>
                  <a:pt x="1897" y="2732"/>
                  <a:pt x="1899" y="2740"/>
                  <a:pt x="1901" y="2737"/>
                </a:cubicBezTo>
                <a:cubicBezTo>
                  <a:pt x="1902" y="2735"/>
                  <a:pt x="1901" y="2734"/>
                  <a:pt x="1901" y="2731"/>
                </a:cubicBezTo>
                <a:cubicBezTo>
                  <a:pt x="1905" y="2728"/>
                  <a:pt x="1905" y="2728"/>
                  <a:pt x="1905" y="2728"/>
                </a:cubicBezTo>
                <a:cubicBezTo>
                  <a:pt x="1907" y="2732"/>
                  <a:pt x="1907" y="2738"/>
                  <a:pt x="1905" y="2738"/>
                </a:cubicBezTo>
                <a:cubicBezTo>
                  <a:pt x="1916" y="2743"/>
                  <a:pt x="1971" y="2757"/>
                  <a:pt x="1984" y="2753"/>
                </a:cubicBezTo>
                <a:cubicBezTo>
                  <a:pt x="1982" y="2745"/>
                  <a:pt x="1979" y="2750"/>
                  <a:pt x="1977" y="2738"/>
                </a:cubicBezTo>
                <a:cubicBezTo>
                  <a:pt x="1980" y="2732"/>
                  <a:pt x="1982" y="2741"/>
                  <a:pt x="1983" y="2734"/>
                </a:cubicBezTo>
                <a:cubicBezTo>
                  <a:pt x="1985" y="2751"/>
                  <a:pt x="1991" y="2739"/>
                  <a:pt x="1993" y="2756"/>
                </a:cubicBezTo>
                <a:cubicBezTo>
                  <a:pt x="1994" y="2747"/>
                  <a:pt x="1994" y="2747"/>
                  <a:pt x="1994" y="2747"/>
                </a:cubicBezTo>
                <a:cubicBezTo>
                  <a:pt x="1996" y="2753"/>
                  <a:pt x="1996" y="2753"/>
                  <a:pt x="1996" y="2753"/>
                </a:cubicBezTo>
                <a:cubicBezTo>
                  <a:pt x="2010" y="2743"/>
                  <a:pt x="1999" y="2748"/>
                  <a:pt x="2012" y="2751"/>
                </a:cubicBezTo>
                <a:cubicBezTo>
                  <a:pt x="2019" y="2750"/>
                  <a:pt x="2022" y="2736"/>
                  <a:pt x="2027" y="2741"/>
                </a:cubicBezTo>
                <a:cubicBezTo>
                  <a:pt x="2026" y="2741"/>
                  <a:pt x="2024" y="2735"/>
                  <a:pt x="2026" y="2733"/>
                </a:cubicBezTo>
                <a:cubicBezTo>
                  <a:pt x="2027" y="2741"/>
                  <a:pt x="2031" y="2727"/>
                  <a:pt x="2032" y="2735"/>
                </a:cubicBezTo>
                <a:cubicBezTo>
                  <a:pt x="2034" y="2734"/>
                  <a:pt x="2040" y="2736"/>
                  <a:pt x="2038" y="2724"/>
                </a:cubicBezTo>
                <a:cubicBezTo>
                  <a:pt x="2039" y="2730"/>
                  <a:pt x="2044" y="2732"/>
                  <a:pt x="2041" y="2737"/>
                </a:cubicBezTo>
                <a:cubicBezTo>
                  <a:pt x="2043" y="2738"/>
                  <a:pt x="2045" y="2740"/>
                  <a:pt x="2046" y="2737"/>
                </a:cubicBezTo>
                <a:cubicBezTo>
                  <a:pt x="2044" y="2734"/>
                  <a:pt x="2044" y="2734"/>
                  <a:pt x="2044" y="2734"/>
                </a:cubicBezTo>
                <a:cubicBezTo>
                  <a:pt x="2050" y="2732"/>
                  <a:pt x="2053" y="2741"/>
                  <a:pt x="2057" y="2731"/>
                </a:cubicBezTo>
                <a:cubicBezTo>
                  <a:pt x="2055" y="2726"/>
                  <a:pt x="2055" y="2726"/>
                  <a:pt x="2055" y="2726"/>
                </a:cubicBezTo>
                <a:cubicBezTo>
                  <a:pt x="2058" y="2725"/>
                  <a:pt x="2061" y="2724"/>
                  <a:pt x="2063" y="2736"/>
                </a:cubicBezTo>
                <a:cubicBezTo>
                  <a:pt x="2059" y="2740"/>
                  <a:pt x="2059" y="2740"/>
                  <a:pt x="2059" y="2740"/>
                </a:cubicBezTo>
                <a:cubicBezTo>
                  <a:pt x="2066" y="2739"/>
                  <a:pt x="2069" y="2739"/>
                  <a:pt x="2074" y="2732"/>
                </a:cubicBezTo>
                <a:cubicBezTo>
                  <a:pt x="2072" y="2732"/>
                  <a:pt x="2072" y="2732"/>
                  <a:pt x="2072" y="2732"/>
                </a:cubicBezTo>
                <a:cubicBezTo>
                  <a:pt x="2078" y="2721"/>
                  <a:pt x="2111" y="2711"/>
                  <a:pt x="2116" y="2696"/>
                </a:cubicBezTo>
                <a:cubicBezTo>
                  <a:pt x="2113" y="2687"/>
                  <a:pt x="2113" y="2687"/>
                  <a:pt x="2113" y="2687"/>
                </a:cubicBezTo>
                <a:cubicBezTo>
                  <a:pt x="2118" y="2680"/>
                  <a:pt x="2118" y="2680"/>
                  <a:pt x="2118" y="2680"/>
                </a:cubicBezTo>
                <a:cubicBezTo>
                  <a:pt x="2117" y="2680"/>
                  <a:pt x="2117" y="2709"/>
                  <a:pt x="2116" y="2706"/>
                </a:cubicBezTo>
                <a:cubicBezTo>
                  <a:pt x="2127" y="2705"/>
                  <a:pt x="2182" y="2696"/>
                  <a:pt x="2193" y="2701"/>
                </a:cubicBezTo>
                <a:cubicBezTo>
                  <a:pt x="2197" y="2706"/>
                  <a:pt x="2195" y="2715"/>
                  <a:pt x="2195" y="2717"/>
                </a:cubicBezTo>
                <a:cubicBezTo>
                  <a:pt x="2200" y="2713"/>
                  <a:pt x="2196" y="2707"/>
                  <a:pt x="2201" y="2708"/>
                </a:cubicBezTo>
                <a:cubicBezTo>
                  <a:pt x="2202" y="2709"/>
                  <a:pt x="2201" y="2715"/>
                  <a:pt x="2200" y="2716"/>
                </a:cubicBezTo>
                <a:cubicBezTo>
                  <a:pt x="2202" y="2715"/>
                  <a:pt x="2204" y="2718"/>
                  <a:pt x="2204" y="2714"/>
                </a:cubicBezTo>
                <a:cubicBezTo>
                  <a:pt x="2201" y="2711"/>
                  <a:pt x="2201" y="2699"/>
                  <a:pt x="2199" y="2692"/>
                </a:cubicBezTo>
                <a:cubicBezTo>
                  <a:pt x="2205" y="2693"/>
                  <a:pt x="2205" y="2693"/>
                  <a:pt x="2205" y="2693"/>
                </a:cubicBezTo>
                <a:cubicBezTo>
                  <a:pt x="2205" y="2700"/>
                  <a:pt x="2205" y="2700"/>
                  <a:pt x="2205" y="2700"/>
                </a:cubicBezTo>
                <a:cubicBezTo>
                  <a:pt x="2207" y="2700"/>
                  <a:pt x="2206" y="2681"/>
                  <a:pt x="2212" y="2684"/>
                </a:cubicBezTo>
                <a:cubicBezTo>
                  <a:pt x="2221" y="2686"/>
                  <a:pt x="2230" y="2683"/>
                  <a:pt x="2239" y="2684"/>
                </a:cubicBezTo>
                <a:cubicBezTo>
                  <a:pt x="2240" y="2688"/>
                  <a:pt x="2238" y="2691"/>
                  <a:pt x="2237" y="2693"/>
                </a:cubicBezTo>
                <a:cubicBezTo>
                  <a:pt x="2238" y="2693"/>
                  <a:pt x="2239" y="2692"/>
                  <a:pt x="2241" y="2695"/>
                </a:cubicBezTo>
                <a:cubicBezTo>
                  <a:pt x="2238" y="2688"/>
                  <a:pt x="2244" y="2690"/>
                  <a:pt x="2242" y="2687"/>
                </a:cubicBezTo>
                <a:cubicBezTo>
                  <a:pt x="2246" y="2669"/>
                  <a:pt x="2257" y="2684"/>
                  <a:pt x="2261" y="2672"/>
                </a:cubicBezTo>
                <a:cubicBezTo>
                  <a:pt x="2260" y="2656"/>
                  <a:pt x="2238" y="2406"/>
                  <a:pt x="2235" y="2388"/>
                </a:cubicBezTo>
                <a:cubicBezTo>
                  <a:pt x="2236" y="2388"/>
                  <a:pt x="2238" y="2388"/>
                  <a:pt x="2239" y="2390"/>
                </a:cubicBezTo>
                <a:close/>
                <a:moveTo>
                  <a:pt x="2816" y="2631"/>
                </a:moveTo>
                <a:cubicBezTo>
                  <a:pt x="2820" y="2637"/>
                  <a:pt x="2823" y="2636"/>
                  <a:pt x="2826" y="2636"/>
                </a:cubicBezTo>
                <a:cubicBezTo>
                  <a:pt x="2821" y="2631"/>
                  <a:pt x="2818" y="2629"/>
                  <a:pt x="2816" y="2631"/>
                </a:cubicBezTo>
                <a:close/>
                <a:moveTo>
                  <a:pt x="2826" y="2636"/>
                </a:moveTo>
                <a:cubicBezTo>
                  <a:pt x="2826" y="2636"/>
                  <a:pt x="2826" y="2636"/>
                  <a:pt x="2826" y="2636"/>
                </a:cubicBezTo>
                <a:cubicBezTo>
                  <a:pt x="2826" y="2636"/>
                  <a:pt x="2826" y="2636"/>
                  <a:pt x="2826" y="2636"/>
                </a:cubicBezTo>
                <a:close/>
                <a:moveTo>
                  <a:pt x="3238" y="2232"/>
                </a:moveTo>
                <a:cubicBezTo>
                  <a:pt x="3229" y="2219"/>
                  <a:pt x="3089" y="2015"/>
                  <a:pt x="3078" y="2001"/>
                </a:cubicBezTo>
                <a:cubicBezTo>
                  <a:pt x="3079" y="2000"/>
                  <a:pt x="3081" y="1999"/>
                  <a:pt x="3082" y="2000"/>
                </a:cubicBezTo>
                <a:cubicBezTo>
                  <a:pt x="3079" y="1997"/>
                  <a:pt x="3075" y="1998"/>
                  <a:pt x="3076" y="2001"/>
                </a:cubicBezTo>
                <a:cubicBezTo>
                  <a:pt x="3081" y="2009"/>
                  <a:pt x="3081" y="2009"/>
                  <a:pt x="3081" y="2009"/>
                </a:cubicBezTo>
                <a:cubicBezTo>
                  <a:pt x="3081" y="2014"/>
                  <a:pt x="3077" y="2005"/>
                  <a:pt x="3075" y="2007"/>
                </a:cubicBezTo>
                <a:cubicBezTo>
                  <a:pt x="3070" y="2001"/>
                  <a:pt x="3072" y="1998"/>
                  <a:pt x="3073" y="1995"/>
                </a:cubicBezTo>
                <a:cubicBezTo>
                  <a:pt x="3071" y="1996"/>
                  <a:pt x="3065" y="1993"/>
                  <a:pt x="3070" y="2001"/>
                </a:cubicBezTo>
                <a:cubicBezTo>
                  <a:pt x="3066" y="2000"/>
                  <a:pt x="3064" y="1993"/>
                  <a:pt x="3060" y="1992"/>
                </a:cubicBezTo>
                <a:cubicBezTo>
                  <a:pt x="3060" y="1996"/>
                  <a:pt x="3062" y="2004"/>
                  <a:pt x="3058" y="2002"/>
                </a:cubicBezTo>
                <a:cubicBezTo>
                  <a:pt x="3057" y="2001"/>
                  <a:pt x="3057" y="2001"/>
                  <a:pt x="3057" y="2001"/>
                </a:cubicBezTo>
                <a:cubicBezTo>
                  <a:pt x="3047" y="1998"/>
                  <a:pt x="3057" y="2016"/>
                  <a:pt x="3048" y="2013"/>
                </a:cubicBezTo>
                <a:cubicBezTo>
                  <a:pt x="3047" y="2011"/>
                  <a:pt x="3047" y="2011"/>
                  <a:pt x="3047" y="2011"/>
                </a:cubicBezTo>
                <a:cubicBezTo>
                  <a:pt x="3043" y="2008"/>
                  <a:pt x="3044" y="2016"/>
                  <a:pt x="3038" y="2014"/>
                </a:cubicBezTo>
                <a:cubicBezTo>
                  <a:pt x="3040" y="2015"/>
                  <a:pt x="3044" y="2019"/>
                  <a:pt x="3043" y="2021"/>
                </a:cubicBezTo>
                <a:cubicBezTo>
                  <a:pt x="3037" y="2020"/>
                  <a:pt x="3038" y="2025"/>
                  <a:pt x="3032" y="2022"/>
                </a:cubicBezTo>
                <a:cubicBezTo>
                  <a:pt x="3034" y="2031"/>
                  <a:pt x="3034" y="2031"/>
                  <a:pt x="3034" y="2031"/>
                </a:cubicBezTo>
                <a:cubicBezTo>
                  <a:pt x="3023" y="2038"/>
                  <a:pt x="2986" y="2083"/>
                  <a:pt x="2976" y="2092"/>
                </a:cubicBezTo>
                <a:cubicBezTo>
                  <a:pt x="2975" y="2090"/>
                  <a:pt x="2975" y="2090"/>
                  <a:pt x="2975" y="2090"/>
                </a:cubicBezTo>
                <a:cubicBezTo>
                  <a:pt x="2960" y="2107"/>
                  <a:pt x="2925" y="2132"/>
                  <a:pt x="2912" y="2154"/>
                </a:cubicBezTo>
                <a:cubicBezTo>
                  <a:pt x="2905" y="2149"/>
                  <a:pt x="2902" y="2153"/>
                  <a:pt x="2898" y="2153"/>
                </a:cubicBezTo>
                <a:cubicBezTo>
                  <a:pt x="2901" y="2155"/>
                  <a:pt x="2903" y="2160"/>
                  <a:pt x="2902" y="2161"/>
                </a:cubicBezTo>
                <a:cubicBezTo>
                  <a:pt x="2892" y="2166"/>
                  <a:pt x="2904" y="2166"/>
                  <a:pt x="2896" y="2175"/>
                </a:cubicBezTo>
                <a:cubicBezTo>
                  <a:pt x="2889" y="2188"/>
                  <a:pt x="2844" y="2207"/>
                  <a:pt x="2831" y="2207"/>
                </a:cubicBezTo>
                <a:cubicBezTo>
                  <a:pt x="2831" y="2220"/>
                  <a:pt x="2821" y="2216"/>
                  <a:pt x="2819" y="2225"/>
                </a:cubicBezTo>
                <a:cubicBezTo>
                  <a:pt x="2818" y="2223"/>
                  <a:pt x="2818" y="2223"/>
                  <a:pt x="2818" y="2223"/>
                </a:cubicBezTo>
                <a:cubicBezTo>
                  <a:pt x="2814" y="2230"/>
                  <a:pt x="2778" y="2238"/>
                  <a:pt x="2773" y="2245"/>
                </a:cubicBezTo>
                <a:cubicBezTo>
                  <a:pt x="2775" y="2246"/>
                  <a:pt x="2775" y="2246"/>
                  <a:pt x="2775" y="2246"/>
                </a:cubicBezTo>
                <a:cubicBezTo>
                  <a:pt x="2772" y="2255"/>
                  <a:pt x="2768" y="2244"/>
                  <a:pt x="2762" y="2242"/>
                </a:cubicBezTo>
                <a:cubicBezTo>
                  <a:pt x="2768" y="2254"/>
                  <a:pt x="2766" y="2263"/>
                  <a:pt x="2764" y="2265"/>
                </a:cubicBezTo>
                <a:cubicBezTo>
                  <a:pt x="2763" y="2262"/>
                  <a:pt x="2763" y="2262"/>
                  <a:pt x="2763" y="2262"/>
                </a:cubicBezTo>
                <a:cubicBezTo>
                  <a:pt x="2761" y="2266"/>
                  <a:pt x="2760" y="2279"/>
                  <a:pt x="2755" y="2283"/>
                </a:cubicBezTo>
                <a:cubicBezTo>
                  <a:pt x="2753" y="2277"/>
                  <a:pt x="2753" y="2277"/>
                  <a:pt x="2753" y="2277"/>
                </a:cubicBezTo>
                <a:cubicBezTo>
                  <a:pt x="2752" y="2286"/>
                  <a:pt x="2743" y="2286"/>
                  <a:pt x="2741" y="2288"/>
                </a:cubicBezTo>
                <a:cubicBezTo>
                  <a:pt x="2733" y="2289"/>
                  <a:pt x="2718" y="2283"/>
                  <a:pt x="2713" y="2295"/>
                </a:cubicBezTo>
                <a:cubicBezTo>
                  <a:pt x="2700" y="2279"/>
                  <a:pt x="2700" y="2279"/>
                  <a:pt x="2700" y="2279"/>
                </a:cubicBezTo>
                <a:cubicBezTo>
                  <a:pt x="2700" y="2282"/>
                  <a:pt x="2700" y="2282"/>
                  <a:pt x="2700" y="2282"/>
                </a:cubicBezTo>
                <a:cubicBezTo>
                  <a:pt x="2700" y="2282"/>
                  <a:pt x="2720" y="2339"/>
                  <a:pt x="2745" y="2401"/>
                </a:cubicBezTo>
                <a:cubicBezTo>
                  <a:pt x="2770" y="2464"/>
                  <a:pt x="2799" y="2531"/>
                  <a:pt x="2815" y="2552"/>
                </a:cubicBezTo>
                <a:cubicBezTo>
                  <a:pt x="2818" y="2559"/>
                  <a:pt x="2818" y="2559"/>
                  <a:pt x="2818" y="2559"/>
                </a:cubicBezTo>
                <a:cubicBezTo>
                  <a:pt x="2820" y="2556"/>
                  <a:pt x="2820" y="2556"/>
                  <a:pt x="2820" y="2556"/>
                </a:cubicBezTo>
                <a:cubicBezTo>
                  <a:pt x="2824" y="2558"/>
                  <a:pt x="2823" y="2550"/>
                  <a:pt x="2825" y="2557"/>
                </a:cubicBezTo>
                <a:cubicBezTo>
                  <a:pt x="2821" y="2558"/>
                  <a:pt x="2821" y="2558"/>
                  <a:pt x="2821" y="2558"/>
                </a:cubicBezTo>
                <a:cubicBezTo>
                  <a:pt x="2825" y="2558"/>
                  <a:pt x="2824" y="2563"/>
                  <a:pt x="2824" y="2567"/>
                </a:cubicBezTo>
                <a:cubicBezTo>
                  <a:pt x="2826" y="2567"/>
                  <a:pt x="2827" y="2567"/>
                  <a:pt x="2829" y="2569"/>
                </a:cubicBezTo>
                <a:cubicBezTo>
                  <a:pt x="2829" y="2566"/>
                  <a:pt x="2828" y="2566"/>
                  <a:pt x="2827" y="2565"/>
                </a:cubicBezTo>
                <a:cubicBezTo>
                  <a:pt x="2827" y="2562"/>
                  <a:pt x="2827" y="2555"/>
                  <a:pt x="2830" y="2557"/>
                </a:cubicBezTo>
                <a:cubicBezTo>
                  <a:pt x="2834" y="2556"/>
                  <a:pt x="2835" y="2567"/>
                  <a:pt x="2839" y="2566"/>
                </a:cubicBezTo>
                <a:cubicBezTo>
                  <a:pt x="2861" y="2561"/>
                  <a:pt x="2884" y="2559"/>
                  <a:pt x="2904" y="2547"/>
                </a:cubicBezTo>
                <a:cubicBezTo>
                  <a:pt x="2905" y="2549"/>
                  <a:pt x="2905" y="2550"/>
                  <a:pt x="2905" y="2551"/>
                </a:cubicBezTo>
                <a:cubicBezTo>
                  <a:pt x="2909" y="2545"/>
                  <a:pt x="2915" y="2543"/>
                  <a:pt x="2919" y="2537"/>
                </a:cubicBezTo>
                <a:cubicBezTo>
                  <a:pt x="2922" y="2539"/>
                  <a:pt x="2925" y="2543"/>
                  <a:pt x="2926" y="2546"/>
                </a:cubicBezTo>
                <a:cubicBezTo>
                  <a:pt x="2923" y="2541"/>
                  <a:pt x="2954" y="2523"/>
                  <a:pt x="2955" y="2524"/>
                </a:cubicBezTo>
                <a:cubicBezTo>
                  <a:pt x="2950" y="2513"/>
                  <a:pt x="2950" y="2513"/>
                  <a:pt x="2950" y="2513"/>
                </a:cubicBezTo>
                <a:cubicBezTo>
                  <a:pt x="2955" y="2509"/>
                  <a:pt x="2958" y="2525"/>
                  <a:pt x="2962" y="2519"/>
                </a:cubicBezTo>
                <a:cubicBezTo>
                  <a:pt x="2956" y="2502"/>
                  <a:pt x="2972" y="2515"/>
                  <a:pt x="2969" y="2506"/>
                </a:cubicBezTo>
                <a:cubicBezTo>
                  <a:pt x="2970" y="2507"/>
                  <a:pt x="2973" y="2506"/>
                  <a:pt x="2975" y="2511"/>
                </a:cubicBezTo>
                <a:cubicBezTo>
                  <a:pt x="2971" y="2502"/>
                  <a:pt x="2977" y="2507"/>
                  <a:pt x="2977" y="2504"/>
                </a:cubicBezTo>
                <a:cubicBezTo>
                  <a:pt x="2977" y="2502"/>
                  <a:pt x="2975" y="2502"/>
                  <a:pt x="2974" y="2500"/>
                </a:cubicBezTo>
                <a:cubicBezTo>
                  <a:pt x="2976" y="2494"/>
                  <a:pt x="2976" y="2494"/>
                  <a:pt x="2976" y="2494"/>
                </a:cubicBezTo>
                <a:cubicBezTo>
                  <a:pt x="2979" y="2496"/>
                  <a:pt x="2982" y="2501"/>
                  <a:pt x="2981" y="2503"/>
                </a:cubicBezTo>
                <a:cubicBezTo>
                  <a:pt x="2992" y="2500"/>
                  <a:pt x="3044" y="2479"/>
                  <a:pt x="3052" y="2468"/>
                </a:cubicBezTo>
                <a:cubicBezTo>
                  <a:pt x="3047" y="2463"/>
                  <a:pt x="3046" y="2469"/>
                  <a:pt x="3039" y="2460"/>
                </a:cubicBezTo>
                <a:cubicBezTo>
                  <a:pt x="3039" y="2452"/>
                  <a:pt x="3045" y="2459"/>
                  <a:pt x="3042" y="2452"/>
                </a:cubicBezTo>
                <a:cubicBezTo>
                  <a:pt x="3052" y="2467"/>
                  <a:pt x="3050" y="2452"/>
                  <a:pt x="3061" y="2466"/>
                </a:cubicBezTo>
                <a:cubicBezTo>
                  <a:pt x="3057" y="2457"/>
                  <a:pt x="3057" y="2457"/>
                  <a:pt x="3057" y="2457"/>
                </a:cubicBezTo>
                <a:cubicBezTo>
                  <a:pt x="3061" y="2461"/>
                  <a:pt x="3061" y="2461"/>
                  <a:pt x="3061" y="2461"/>
                </a:cubicBezTo>
                <a:cubicBezTo>
                  <a:pt x="3068" y="2444"/>
                  <a:pt x="3062" y="2455"/>
                  <a:pt x="3074" y="2450"/>
                </a:cubicBezTo>
                <a:cubicBezTo>
                  <a:pt x="3079" y="2444"/>
                  <a:pt x="3075" y="2431"/>
                  <a:pt x="3081" y="2433"/>
                </a:cubicBezTo>
                <a:cubicBezTo>
                  <a:pt x="3080" y="2433"/>
                  <a:pt x="3076" y="2429"/>
                  <a:pt x="3076" y="2425"/>
                </a:cubicBezTo>
                <a:cubicBezTo>
                  <a:pt x="3081" y="2433"/>
                  <a:pt x="3078" y="2417"/>
                  <a:pt x="3083" y="2424"/>
                </a:cubicBezTo>
                <a:cubicBezTo>
                  <a:pt x="3084" y="2422"/>
                  <a:pt x="3089" y="2420"/>
                  <a:pt x="3082" y="2411"/>
                </a:cubicBezTo>
                <a:cubicBezTo>
                  <a:pt x="3085" y="2415"/>
                  <a:pt x="3091" y="2414"/>
                  <a:pt x="3091" y="2420"/>
                </a:cubicBezTo>
                <a:cubicBezTo>
                  <a:pt x="3093" y="2420"/>
                  <a:pt x="3095" y="2420"/>
                  <a:pt x="3095" y="2417"/>
                </a:cubicBezTo>
                <a:cubicBezTo>
                  <a:pt x="3091" y="2416"/>
                  <a:pt x="3091" y="2416"/>
                  <a:pt x="3091" y="2416"/>
                </a:cubicBezTo>
                <a:cubicBezTo>
                  <a:pt x="3095" y="2411"/>
                  <a:pt x="3103" y="2416"/>
                  <a:pt x="3101" y="2405"/>
                </a:cubicBezTo>
                <a:cubicBezTo>
                  <a:pt x="3096" y="2402"/>
                  <a:pt x="3096" y="2402"/>
                  <a:pt x="3096" y="2402"/>
                </a:cubicBezTo>
                <a:cubicBezTo>
                  <a:pt x="3099" y="2400"/>
                  <a:pt x="3101" y="2397"/>
                  <a:pt x="3108" y="2406"/>
                </a:cubicBezTo>
                <a:cubicBezTo>
                  <a:pt x="3107" y="2411"/>
                  <a:pt x="3107" y="2411"/>
                  <a:pt x="3107" y="2411"/>
                </a:cubicBezTo>
                <a:cubicBezTo>
                  <a:pt x="3112" y="2407"/>
                  <a:pt x="3114" y="2405"/>
                  <a:pt x="3115" y="2397"/>
                </a:cubicBezTo>
                <a:cubicBezTo>
                  <a:pt x="3114" y="2397"/>
                  <a:pt x="3114" y="2397"/>
                  <a:pt x="3114" y="2397"/>
                </a:cubicBezTo>
                <a:cubicBezTo>
                  <a:pt x="3113" y="2384"/>
                  <a:pt x="3135" y="2356"/>
                  <a:pt x="3132" y="2340"/>
                </a:cubicBezTo>
                <a:cubicBezTo>
                  <a:pt x="3125" y="2334"/>
                  <a:pt x="3125" y="2334"/>
                  <a:pt x="3125" y="2334"/>
                </a:cubicBezTo>
                <a:cubicBezTo>
                  <a:pt x="3125" y="2325"/>
                  <a:pt x="3125" y="2325"/>
                  <a:pt x="3125" y="2325"/>
                </a:cubicBezTo>
                <a:cubicBezTo>
                  <a:pt x="3124" y="2325"/>
                  <a:pt x="3139" y="2350"/>
                  <a:pt x="3137" y="2348"/>
                </a:cubicBezTo>
                <a:cubicBezTo>
                  <a:pt x="3145" y="2341"/>
                  <a:pt x="3186" y="2300"/>
                  <a:pt x="3197" y="2298"/>
                </a:cubicBezTo>
                <a:cubicBezTo>
                  <a:pt x="3203" y="2300"/>
                  <a:pt x="3205" y="2309"/>
                  <a:pt x="3206" y="2311"/>
                </a:cubicBezTo>
                <a:cubicBezTo>
                  <a:pt x="3208" y="2305"/>
                  <a:pt x="3202" y="2301"/>
                  <a:pt x="3206" y="2299"/>
                </a:cubicBezTo>
                <a:cubicBezTo>
                  <a:pt x="3208" y="2300"/>
                  <a:pt x="3210" y="2305"/>
                  <a:pt x="3210" y="2307"/>
                </a:cubicBezTo>
                <a:cubicBezTo>
                  <a:pt x="3211" y="2305"/>
                  <a:pt x="3214" y="2306"/>
                  <a:pt x="3212" y="2303"/>
                </a:cubicBezTo>
                <a:cubicBezTo>
                  <a:pt x="3208" y="2301"/>
                  <a:pt x="3203" y="2292"/>
                  <a:pt x="3198" y="2287"/>
                </a:cubicBezTo>
                <a:cubicBezTo>
                  <a:pt x="3202" y="2284"/>
                  <a:pt x="3202" y="2284"/>
                  <a:pt x="3202" y="2284"/>
                </a:cubicBezTo>
                <a:cubicBezTo>
                  <a:pt x="3206" y="2290"/>
                  <a:pt x="3206" y="2290"/>
                  <a:pt x="3206" y="2290"/>
                </a:cubicBezTo>
                <a:cubicBezTo>
                  <a:pt x="3207" y="2289"/>
                  <a:pt x="3198" y="2272"/>
                  <a:pt x="3204" y="2272"/>
                </a:cubicBezTo>
                <a:cubicBezTo>
                  <a:pt x="3212" y="2268"/>
                  <a:pt x="3218" y="2260"/>
                  <a:pt x="3226" y="2255"/>
                </a:cubicBezTo>
                <a:cubicBezTo>
                  <a:pt x="3229" y="2259"/>
                  <a:pt x="3229" y="2262"/>
                  <a:pt x="3228" y="2265"/>
                </a:cubicBezTo>
                <a:cubicBezTo>
                  <a:pt x="3230" y="2265"/>
                  <a:pt x="3230" y="2263"/>
                  <a:pt x="3233" y="2264"/>
                </a:cubicBezTo>
                <a:cubicBezTo>
                  <a:pt x="3227" y="2260"/>
                  <a:pt x="3233" y="2258"/>
                  <a:pt x="3230" y="2257"/>
                </a:cubicBezTo>
                <a:cubicBezTo>
                  <a:pt x="3225" y="2238"/>
                  <a:pt x="3240" y="2245"/>
                  <a:pt x="3238" y="2232"/>
                </a:cubicBezTo>
                <a:close/>
                <a:moveTo>
                  <a:pt x="294" y="101"/>
                </a:moveTo>
                <a:cubicBezTo>
                  <a:pt x="288" y="100"/>
                  <a:pt x="287" y="101"/>
                  <a:pt x="285" y="102"/>
                </a:cubicBezTo>
                <a:cubicBezTo>
                  <a:pt x="292" y="103"/>
                  <a:pt x="295" y="103"/>
                  <a:pt x="294" y="101"/>
                </a:cubicBezTo>
                <a:close/>
                <a:moveTo>
                  <a:pt x="285" y="102"/>
                </a:moveTo>
                <a:cubicBezTo>
                  <a:pt x="285" y="102"/>
                  <a:pt x="285" y="102"/>
                  <a:pt x="285" y="102"/>
                </a:cubicBezTo>
                <a:cubicBezTo>
                  <a:pt x="285" y="102"/>
                  <a:pt x="285" y="102"/>
                  <a:pt x="285" y="102"/>
                </a:cubicBezTo>
                <a:close/>
              </a:path>
            </a:pathLst>
          </a:custGeom>
          <a:solidFill>
            <a:srgbClr val="3D7C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30" name="Oval 17">
            <a:extLst>
              <a:ext uri="{FF2B5EF4-FFF2-40B4-BE49-F238E27FC236}">
                <a16:creationId xmlns:a16="http://schemas.microsoft.com/office/drawing/2014/main" id="{97BF009D-759B-41D3-B26A-2038D493096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292601" y="2318550"/>
            <a:ext cx="3553860" cy="3548904"/>
          </a:xfrm>
          <a:prstGeom prst="ellipse">
            <a:avLst/>
          </a:prstGeom>
          <a:noFill/>
          <a:ln w="101600" cap="flat">
            <a:solidFill>
              <a:srgbClr val="345D9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814657A7-7CC1-4B7D-BC3A-DD426F395464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308336" y="1"/>
            <a:ext cx="2597664" cy="4803828"/>
          </a:xfrm>
          <a:custGeom>
            <a:avLst/>
            <a:gdLst>
              <a:gd name="connsiteX0" fmla="*/ 1294023 w 2548807"/>
              <a:gd name="connsiteY0" fmla="*/ 0 h 4803828"/>
              <a:gd name="connsiteX1" fmla="*/ 2548807 w 2548807"/>
              <a:gd name="connsiteY1" fmla="*/ 0 h 4803828"/>
              <a:gd name="connsiteX2" fmla="*/ 2548807 w 2548807"/>
              <a:gd name="connsiteY2" fmla="*/ 4803828 h 4803828"/>
              <a:gd name="connsiteX3" fmla="*/ 2310823 w 2548807"/>
              <a:gd name="connsiteY3" fmla="*/ 4791811 h 4803828"/>
              <a:gd name="connsiteX4" fmla="*/ 0 w 2548807"/>
              <a:gd name="connsiteY4" fmla="*/ 2231100 h 4803828"/>
              <a:gd name="connsiteX5" fmla="*/ 1134852 w 2548807"/>
              <a:gd name="connsiteY5" fmla="*/ 96699 h 4803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8807" h="4803828">
                <a:moveTo>
                  <a:pt x="1294023" y="0"/>
                </a:moveTo>
                <a:lnTo>
                  <a:pt x="2548807" y="0"/>
                </a:lnTo>
                <a:lnTo>
                  <a:pt x="2548807" y="4803828"/>
                </a:lnTo>
                <a:lnTo>
                  <a:pt x="2310823" y="4791811"/>
                </a:lnTo>
                <a:cubicBezTo>
                  <a:pt x="1012868" y="4659996"/>
                  <a:pt x="0" y="3563832"/>
                  <a:pt x="0" y="2231100"/>
                </a:cubicBezTo>
                <a:cubicBezTo>
                  <a:pt x="0" y="1342612"/>
                  <a:pt x="450164" y="559265"/>
                  <a:pt x="1134852" y="96699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grpSp>
        <p:nvGrpSpPr>
          <p:cNvPr id="2054" name="Group 20">
            <a:extLst>
              <a:ext uri="{FF2B5EF4-FFF2-40B4-BE49-F238E27FC236}">
                <a16:creationId xmlns:a16="http://schemas.microsoft.com/office/drawing/2014/main" id="{9B036ADB-BA28-4595-8355-A895DEFE17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1917" y="2760405"/>
            <a:ext cx="585982" cy="509004"/>
            <a:chOff x="1154" y="455"/>
            <a:chExt cx="3928" cy="3412"/>
          </a:xfrm>
        </p:grpSpPr>
        <p:sp>
          <p:nvSpPr>
            <p:cNvPr id="2056" name="Freeform 21">
              <a:extLst>
                <a:ext uri="{FF2B5EF4-FFF2-40B4-BE49-F238E27FC236}">
                  <a16:creationId xmlns:a16="http://schemas.microsoft.com/office/drawing/2014/main" id="{49F2FB40-13BC-433C-B295-DF4671F173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90" y="2845"/>
              <a:ext cx="3" cy="23"/>
            </a:xfrm>
            <a:custGeom>
              <a:avLst/>
              <a:gdLst>
                <a:gd name="T0" fmla="*/ 0 w 1"/>
                <a:gd name="T1" fmla="*/ 10 h 10"/>
                <a:gd name="T2" fmla="*/ 1 w 1"/>
                <a:gd name="T3" fmla="*/ 0 h 10"/>
                <a:gd name="T4" fmla="*/ 0 w 1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0">
                  <a:moveTo>
                    <a:pt x="0" y="10"/>
                  </a:moveTo>
                  <a:cubicBezTo>
                    <a:pt x="1" y="5"/>
                    <a:pt x="1" y="2"/>
                    <a:pt x="1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7" name="Freeform 22">
              <a:extLst>
                <a:ext uri="{FF2B5EF4-FFF2-40B4-BE49-F238E27FC236}">
                  <a16:creationId xmlns:a16="http://schemas.microsoft.com/office/drawing/2014/main" id="{AE6BB9A5-D096-4A22-AFE8-8D6B89A65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3" y="2694"/>
              <a:ext cx="12" cy="12"/>
            </a:xfrm>
            <a:custGeom>
              <a:avLst/>
              <a:gdLst>
                <a:gd name="T0" fmla="*/ 5 w 5"/>
                <a:gd name="T1" fmla="*/ 3 h 5"/>
                <a:gd name="T2" fmla="*/ 0 w 5"/>
                <a:gd name="T3" fmla="*/ 0 h 5"/>
                <a:gd name="T4" fmla="*/ 5 w 5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4" y="5"/>
                    <a:pt x="5" y="3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8" name="Freeform 23">
              <a:extLst>
                <a:ext uri="{FF2B5EF4-FFF2-40B4-BE49-F238E27FC236}">
                  <a16:creationId xmlns:a16="http://schemas.microsoft.com/office/drawing/2014/main" id="{E92B07B4-3CD9-4818-9CFB-006F896CB8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4" y="1548"/>
              <a:ext cx="5" cy="43"/>
            </a:xfrm>
            <a:custGeom>
              <a:avLst/>
              <a:gdLst>
                <a:gd name="T0" fmla="*/ 1 w 2"/>
                <a:gd name="T1" fmla="*/ 0 h 18"/>
                <a:gd name="T2" fmla="*/ 0 w 2"/>
                <a:gd name="T3" fmla="*/ 18 h 18"/>
                <a:gd name="T4" fmla="*/ 1 w 2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8">
                  <a:moveTo>
                    <a:pt x="1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2" y="8"/>
                    <a:pt x="1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59" name="Freeform 24">
              <a:extLst>
                <a:ext uri="{FF2B5EF4-FFF2-40B4-BE49-F238E27FC236}">
                  <a16:creationId xmlns:a16="http://schemas.microsoft.com/office/drawing/2014/main" id="{1EF26DD0-2448-4975-9D0C-C8C2FEA1E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1" y="3497"/>
              <a:ext cx="33" cy="38"/>
            </a:xfrm>
            <a:custGeom>
              <a:avLst/>
              <a:gdLst>
                <a:gd name="T0" fmla="*/ 0 w 14"/>
                <a:gd name="T1" fmla="*/ 16 h 16"/>
                <a:gd name="T2" fmla="*/ 2 w 14"/>
                <a:gd name="T3" fmla="*/ 0 h 16"/>
                <a:gd name="T4" fmla="*/ 0 w 14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6">
                  <a:moveTo>
                    <a:pt x="0" y="16"/>
                  </a:moveTo>
                  <a:cubicBezTo>
                    <a:pt x="14" y="8"/>
                    <a:pt x="4" y="6"/>
                    <a:pt x="2" y="0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0" name="Freeform 25">
              <a:extLst>
                <a:ext uri="{FF2B5EF4-FFF2-40B4-BE49-F238E27FC236}">
                  <a16:creationId xmlns:a16="http://schemas.microsoft.com/office/drawing/2014/main" id="{2E2B54BC-EB3B-40E4-936A-5FBE24F621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7" y="3474"/>
              <a:ext cx="7" cy="7"/>
            </a:xfrm>
            <a:custGeom>
              <a:avLst/>
              <a:gdLst>
                <a:gd name="T0" fmla="*/ 3 w 3"/>
                <a:gd name="T1" fmla="*/ 3 h 3"/>
                <a:gd name="T2" fmla="*/ 1 w 3"/>
                <a:gd name="T3" fmla="*/ 0 h 3"/>
                <a:gd name="T4" fmla="*/ 3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2"/>
                    <a:pt x="2" y="1"/>
                    <a:pt x="1" y="0"/>
                  </a:cubicBezTo>
                  <a:cubicBezTo>
                    <a:pt x="0" y="2"/>
                    <a:pt x="1" y="3"/>
                    <a:pt x="3" y="3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1" name="Freeform 26">
              <a:extLst>
                <a:ext uri="{FF2B5EF4-FFF2-40B4-BE49-F238E27FC236}">
                  <a16:creationId xmlns:a16="http://schemas.microsoft.com/office/drawing/2014/main" id="{C289839E-1D07-4D98-85D2-F7A898979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3" y="648"/>
              <a:ext cx="7" cy="5"/>
            </a:xfrm>
            <a:custGeom>
              <a:avLst/>
              <a:gdLst>
                <a:gd name="T0" fmla="*/ 3 w 3"/>
                <a:gd name="T1" fmla="*/ 2 h 2"/>
                <a:gd name="T2" fmla="*/ 2 w 3"/>
                <a:gd name="T3" fmla="*/ 2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0" y="0"/>
                    <a:pt x="1" y="0"/>
                    <a:pt x="2" y="2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2" name="Freeform 27">
              <a:extLst>
                <a:ext uri="{FF2B5EF4-FFF2-40B4-BE49-F238E27FC236}">
                  <a16:creationId xmlns:a16="http://schemas.microsoft.com/office/drawing/2014/main" id="{364CA78C-4E0B-4846-B904-D33D1A0EE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83" y="3764"/>
              <a:ext cx="24" cy="11"/>
            </a:xfrm>
            <a:custGeom>
              <a:avLst/>
              <a:gdLst>
                <a:gd name="T0" fmla="*/ 10 w 10"/>
                <a:gd name="T1" fmla="*/ 1 h 5"/>
                <a:gd name="T2" fmla="*/ 8 w 10"/>
                <a:gd name="T3" fmla="*/ 0 h 5"/>
                <a:gd name="T4" fmla="*/ 10 w 10"/>
                <a:gd name="T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10" y="1"/>
                  </a:moveTo>
                  <a:cubicBezTo>
                    <a:pt x="9" y="0"/>
                    <a:pt x="8" y="0"/>
                    <a:pt x="8" y="0"/>
                  </a:cubicBezTo>
                  <a:cubicBezTo>
                    <a:pt x="0" y="5"/>
                    <a:pt x="4" y="4"/>
                    <a:pt x="10" y="1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3" name="Freeform 28">
              <a:extLst>
                <a:ext uri="{FF2B5EF4-FFF2-40B4-BE49-F238E27FC236}">
                  <a16:creationId xmlns:a16="http://schemas.microsoft.com/office/drawing/2014/main" id="{E22B1862-2D5C-42A1-8122-107F434EA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10" y="792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4" name="Freeform 29">
              <a:extLst>
                <a:ext uri="{FF2B5EF4-FFF2-40B4-BE49-F238E27FC236}">
                  <a16:creationId xmlns:a16="http://schemas.microsoft.com/office/drawing/2014/main" id="{5E89DC0F-3520-4946-8F70-5440F568E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86" y="794"/>
              <a:ext cx="97" cy="85"/>
            </a:xfrm>
            <a:custGeom>
              <a:avLst/>
              <a:gdLst>
                <a:gd name="T0" fmla="*/ 0 w 41"/>
                <a:gd name="T1" fmla="*/ 36 h 36"/>
                <a:gd name="T2" fmla="*/ 41 w 41"/>
                <a:gd name="T3" fmla="*/ 7 h 36"/>
                <a:gd name="T4" fmla="*/ 11 w 41"/>
                <a:gd name="T5" fmla="*/ 0 h 36"/>
                <a:gd name="T6" fmla="*/ 0 w 41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6">
                  <a:moveTo>
                    <a:pt x="0" y="36"/>
                  </a:moveTo>
                  <a:cubicBezTo>
                    <a:pt x="13" y="26"/>
                    <a:pt x="27" y="16"/>
                    <a:pt x="41" y="7"/>
                  </a:cubicBezTo>
                  <a:cubicBezTo>
                    <a:pt x="22" y="13"/>
                    <a:pt x="17" y="8"/>
                    <a:pt x="11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5" name="Freeform 30">
              <a:extLst>
                <a:ext uri="{FF2B5EF4-FFF2-40B4-BE49-F238E27FC236}">
                  <a16:creationId xmlns:a16="http://schemas.microsoft.com/office/drawing/2014/main" id="{5B95F7D8-0B7F-44EF-918F-33B5C46836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54" y="455"/>
              <a:ext cx="3928" cy="3412"/>
            </a:xfrm>
            <a:custGeom>
              <a:avLst/>
              <a:gdLst>
                <a:gd name="T0" fmla="*/ 1647 w 1665"/>
                <a:gd name="T1" fmla="*/ 800 h 1448"/>
                <a:gd name="T2" fmla="*/ 1600 w 1665"/>
                <a:gd name="T3" fmla="*/ 661 h 1448"/>
                <a:gd name="T4" fmla="*/ 1579 w 1665"/>
                <a:gd name="T5" fmla="*/ 622 h 1448"/>
                <a:gd name="T6" fmla="*/ 1539 w 1665"/>
                <a:gd name="T7" fmla="*/ 482 h 1448"/>
                <a:gd name="T8" fmla="*/ 1490 w 1665"/>
                <a:gd name="T9" fmla="*/ 478 h 1448"/>
                <a:gd name="T10" fmla="*/ 1497 w 1665"/>
                <a:gd name="T11" fmla="*/ 458 h 1448"/>
                <a:gd name="T12" fmla="*/ 1528 w 1665"/>
                <a:gd name="T13" fmla="*/ 462 h 1448"/>
                <a:gd name="T14" fmla="*/ 1516 w 1665"/>
                <a:gd name="T15" fmla="*/ 399 h 1448"/>
                <a:gd name="T16" fmla="*/ 1484 w 1665"/>
                <a:gd name="T17" fmla="*/ 373 h 1448"/>
                <a:gd name="T18" fmla="*/ 1398 w 1665"/>
                <a:gd name="T19" fmla="*/ 287 h 1448"/>
                <a:gd name="T20" fmla="*/ 1388 w 1665"/>
                <a:gd name="T21" fmla="*/ 270 h 1448"/>
                <a:gd name="T22" fmla="*/ 1295 w 1665"/>
                <a:gd name="T23" fmla="*/ 170 h 1448"/>
                <a:gd name="T24" fmla="*/ 1221 w 1665"/>
                <a:gd name="T25" fmla="*/ 127 h 1448"/>
                <a:gd name="T26" fmla="*/ 1180 w 1665"/>
                <a:gd name="T27" fmla="*/ 106 h 1448"/>
                <a:gd name="T28" fmla="*/ 1119 w 1665"/>
                <a:gd name="T29" fmla="*/ 87 h 1448"/>
                <a:gd name="T30" fmla="*/ 962 w 1665"/>
                <a:gd name="T31" fmla="*/ 96 h 1448"/>
                <a:gd name="T32" fmla="*/ 1023 w 1665"/>
                <a:gd name="T33" fmla="*/ 27 h 1448"/>
                <a:gd name="T34" fmla="*/ 916 w 1665"/>
                <a:gd name="T35" fmla="*/ 69 h 1448"/>
                <a:gd name="T36" fmla="*/ 851 w 1665"/>
                <a:gd name="T37" fmla="*/ 26 h 1448"/>
                <a:gd name="T38" fmla="*/ 810 w 1665"/>
                <a:gd name="T39" fmla="*/ 72 h 1448"/>
                <a:gd name="T40" fmla="*/ 790 w 1665"/>
                <a:gd name="T41" fmla="*/ 29 h 1448"/>
                <a:gd name="T42" fmla="*/ 717 w 1665"/>
                <a:gd name="T43" fmla="*/ 45 h 1448"/>
                <a:gd name="T44" fmla="*/ 680 w 1665"/>
                <a:gd name="T45" fmla="*/ 84 h 1448"/>
                <a:gd name="T46" fmla="*/ 563 w 1665"/>
                <a:gd name="T47" fmla="*/ 62 h 1448"/>
                <a:gd name="T48" fmla="*/ 472 w 1665"/>
                <a:gd name="T49" fmla="*/ 137 h 1448"/>
                <a:gd name="T50" fmla="*/ 356 w 1665"/>
                <a:gd name="T51" fmla="*/ 192 h 1448"/>
                <a:gd name="T52" fmla="*/ 307 w 1665"/>
                <a:gd name="T53" fmla="*/ 224 h 1448"/>
                <a:gd name="T54" fmla="*/ 235 w 1665"/>
                <a:gd name="T55" fmla="*/ 284 h 1448"/>
                <a:gd name="T56" fmla="*/ 209 w 1665"/>
                <a:gd name="T57" fmla="*/ 308 h 1448"/>
                <a:gd name="T58" fmla="*/ 187 w 1665"/>
                <a:gd name="T59" fmla="*/ 333 h 1448"/>
                <a:gd name="T60" fmla="*/ 6 w 1665"/>
                <a:gd name="T61" fmla="*/ 981 h 1448"/>
                <a:gd name="T62" fmla="*/ 33 w 1665"/>
                <a:gd name="T63" fmla="*/ 1064 h 1448"/>
                <a:gd name="T64" fmla="*/ 106 w 1665"/>
                <a:gd name="T65" fmla="*/ 1191 h 1448"/>
                <a:gd name="T66" fmla="*/ 129 w 1665"/>
                <a:gd name="T67" fmla="*/ 1192 h 1448"/>
                <a:gd name="T68" fmla="*/ 203 w 1665"/>
                <a:gd name="T69" fmla="*/ 1267 h 1448"/>
                <a:gd name="T70" fmla="*/ 256 w 1665"/>
                <a:gd name="T71" fmla="*/ 1313 h 1448"/>
                <a:gd name="T72" fmla="*/ 479 w 1665"/>
                <a:gd name="T73" fmla="*/ 1375 h 1448"/>
                <a:gd name="T74" fmla="*/ 568 w 1665"/>
                <a:gd name="T75" fmla="*/ 1376 h 1448"/>
                <a:gd name="T76" fmla="*/ 684 w 1665"/>
                <a:gd name="T77" fmla="*/ 1424 h 1448"/>
                <a:gd name="T78" fmla="*/ 742 w 1665"/>
                <a:gd name="T79" fmla="*/ 1425 h 1448"/>
                <a:gd name="T80" fmla="*/ 845 w 1665"/>
                <a:gd name="T81" fmla="*/ 1390 h 1448"/>
                <a:gd name="T82" fmla="*/ 823 w 1665"/>
                <a:gd name="T83" fmla="*/ 1438 h 1448"/>
                <a:gd name="T84" fmla="*/ 890 w 1665"/>
                <a:gd name="T85" fmla="*/ 1438 h 1448"/>
                <a:gd name="T86" fmla="*/ 991 w 1665"/>
                <a:gd name="T87" fmla="*/ 1419 h 1448"/>
                <a:gd name="T88" fmla="*/ 1065 w 1665"/>
                <a:gd name="T89" fmla="*/ 1398 h 1448"/>
                <a:gd name="T90" fmla="*/ 1117 w 1665"/>
                <a:gd name="T91" fmla="*/ 1397 h 1448"/>
                <a:gd name="T92" fmla="*/ 1178 w 1665"/>
                <a:gd name="T93" fmla="*/ 1365 h 1448"/>
                <a:gd name="T94" fmla="*/ 1238 w 1665"/>
                <a:gd name="T95" fmla="*/ 1333 h 1448"/>
                <a:gd name="T96" fmla="*/ 1283 w 1665"/>
                <a:gd name="T97" fmla="*/ 1333 h 1448"/>
                <a:gd name="T98" fmla="*/ 1441 w 1665"/>
                <a:gd name="T99" fmla="*/ 1227 h 1448"/>
                <a:gd name="T100" fmla="*/ 1522 w 1665"/>
                <a:gd name="T101" fmla="*/ 1129 h 1448"/>
                <a:gd name="T102" fmla="*/ 1548 w 1665"/>
                <a:gd name="T103" fmla="*/ 1128 h 1448"/>
                <a:gd name="T104" fmla="*/ 1570 w 1665"/>
                <a:gd name="T105" fmla="*/ 1055 h 1448"/>
                <a:gd name="T106" fmla="*/ 1591 w 1665"/>
                <a:gd name="T107" fmla="*/ 989 h 1448"/>
                <a:gd name="T108" fmla="*/ 1596 w 1665"/>
                <a:gd name="T109" fmla="*/ 925 h 1448"/>
                <a:gd name="T110" fmla="*/ 1629 w 1665"/>
                <a:gd name="T111" fmla="*/ 868 h 1448"/>
                <a:gd name="T112" fmla="*/ 1500 w 1665"/>
                <a:gd name="T113" fmla="*/ 445 h 1448"/>
                <a:gd name="T114" fmla="*/ 1618 w 1665"/>
                <a:gd name="T115" fmla="*/ 857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65" h="1448">
                  <a:moveTo>
                    <a:pt x="1618" y="857"/>
                  </a:moveTo>
                  <a:cubicBezTo>
                    <a:pt x="1622" y="850"/>
                    <a:pt x="1624" y="841"/>
                    <a:pt x="1617" y="828"/>
                  </a:cubicBezTo>
                  <a:cubicBezTo>
                    <a:pt x="1631" y="828"/>
                    <a:pt x="1628" y="815"/>
                    <a:pt x="1629" y="799"/>
                  </a:cubicBezTo>
                  <a:cubicBezTo>
                    <a:pt x="1647" y="800"/>
                    <a:pt x="1647" y="800"/>
                    <a:pt x="1647" y="800"/>
                  </a:cubicBezTo>
                  <a:cubicBezTo>
                    <a:pt x="1641" y="782"/>
                    <a:pt x="1632" y="784"/>
                    <a:pt x="1623" y="774"/>
                  </a:cubicBezTo>
                  <a:cubicBezTo>
                    <a:pt x="1624" y="755"/>
                    <a:pt x="1638" y="750"/>
                    <a:pt x="1650" y="744"/>
                  </a:cubicBezTo>
                  <a:cubicBezTo>
                    <a:pt x="1651" y="713"/>
                    <a:pt x="1628" y="768"/>
                    <a:pt x="1622" y="731"/>
                  </a:cubicBezTo>
                  <a:cubicBezTo>
                    <a:pt x="1629" y="704"/>
                    <a:pt x="1616" y="688"/>
                    <a:pt x="1600" y="661"/>
                  </a:cubicBezTo>
                  <a:cubicBezTo>
                    <a:pt x="1603" y="642"/>
                    <a:pt x="1612" y="661"/>
                    <a:pt x="1616" y="654"/>
                  </a:cubicBezTo>
                  <a:cubicBezTo>
                    <a:pt x="1599" y="642"/>
                    <a:pt x="1599" y="642"/>
                    <a:pt x="1599" y="642"/>
                  </a:cubicBezTo>
                  <a:cubicBezTo>
                    <a:pt x="1599" y="638"/>
                    <a:pt x="1603" y="638"/>
                    <a:pt x="1606" y="638"/>
                  </a:cubicBezTo>
                  <a:cubicBezTo>
                    <a:pt x="1598" y="627"/>
                    <a:pt x="1587" y="641"/>
                    <a:pt x="1579" y="622"/>
                  </a:cubicBezTo>
                  <a:cubicBezTo>
                    <a:pt x="1558" y="622"/>
                    <a:pt x="1596" y="575"/>
                    <a:pt x="1567" y="558"/>
                  </a:cubicBezTo>
                  <a:cubicBezTo>
                    <a:pt x="1570" y="550"/>
                    <a:pt x="1578" y="557"/>
                    <a:pt x="1585" y="553"/>
                  </a:cubicBezTo>
                  <a:cubicBezTo>
                    <a:pt x="1560" y="525"/>
                    <a:pt x="1567" y="528"/>
                    <a:pt x="1537" y="509"/>
                  </a:cubicBezTo>
                  <a:cubicBezTo>
                    <a:pt x="1539" y="482"/>
                    <a:pt x="1539" y="482"/>
                    <a:pt x="1539" y="482"/>
                  </a:cubicBezTo>
                  <a:cubicBezTo>
                    <a:pt x="1533" y="504"/>
                    <a:pt x="1509" y="489"/>
                    <a:pt x="1490" y="478"/>
                  </a:cubicBezTo>
                  <a:cubicBezTo>
                    <a:pt x="1489" y="479"/>
                    <a:pt x="1489" y="480"/>
                    <a:pt x="1488" y="481"/>
                  </a:cubicBezTo>
                  <a:cubicBezTo>
                    <a:pt x="1487" y="479"/>
                    <a:pt x="1486" y="477"/>
                    <a:pt x="1485" y="475"/>
                  </a:cubicBezTo>
                  <a:cubicBezTo>
                    <a:pt x="1487" y="476"/>
                    <a:pt x="1488" y="477"/>
                    <a:pt x="1490" y="478"/>
                  </a:cubicBezTo>
                  <a:cubicBezTo>
                    <a:pt x="1490" y="476"/>
                    <a:pt x="1491" y="474"/>
                    <a:pt x="1492" y="473"/>
                  </a:cubicBezTo>
                  <a:cubicBezTo>
                    <a:pt x="1489" y="472"/>
                    <a:pt x="1486" y="472"/>
                    <a:pt x="1484" y="472"/>
                  </a:cubicBezTo>
                  <a:cubicBezTo>
                    <a:pt x="1482" y="467"/>
                    <a:pt x="1480" y="463"/>
                    <a:pt x="1478" y="459"/>
                  </a:cubicBezTo>
                  <a:cubicBezTo>
                    <a:pt x="1483" y="457"/>
                    <a:pt x="1490" y="457"/>
                    <a:pt x="1497" y="458"/>
                  </a:cubicBezTo>
                  <a:cubicBezTo>
                    <a:pt x="1496" y="463"/>
                    <a:pt x="1494" y="468"/>
                    <a:pt x="1492" y="473"/>
                  </a:cubicBezTo>
                  <a:cubicBezTo>
                    <a:pt x="1505" y="475"/>
                    <a:pt x="1519" y="476"/>
                    <a:pt x="1528" y="471"/>
                  </a:cubicBezTo>
                  <a:cubicBezTo>
                    <a:pt x="1526" y="470"/>
                    <a:pt x="1522" y="467"/>
                    <a:pt x="1520" y="463"/>
                  </a:cubicBezTo>
                  <a:cubicBezTo>
                    <a:pt x="1523" y="464"/>
                    <a:pt x="1526" y="464"/>
                    <a:pt x="1528" y="462"/>
                  </a:cubicBezTo>
                  <a:cubicBezTo>
                    <a:pt x="1529" y="460"/>
                    <a:pt x="1524" y="459"/>
                    <a:pt x="1518" y="456"/>
                  </a:cubicBezTo>
                  <a:cubicBezTo>
                    <a:pt x="1533" y="441"/>
                    <a:pt x="1533" y="441"/>
                    <a:pt x="1533" y="441"/>
                  </a:cubicBezTo>
                  <a:cubicBezTo>
                    <a:pt x="1525" y="443"/>
                    <a:pt x="1525" y="443"/>
                    <a:pt x="1525" y="443"/>
                  </a:cubicBezTo>
                  <a:cubicBezTo>
                    <a:pt x="1516" y="399"/>
                    <a:pt x="1516" y="399"/>
                    <a:pt x="1516" y="399"/>
                  </a:cubicBezTo>
                  <a:cubicBezTo>
                    <a:pt x="1500" y="391"/>
                    <a:pt x="1482" y="386"/>
                    <a:pt x="1463" y="380"/>
                  </a:cubicBezTo>
                  <a:cubicBezTo>
                    <a:pt x="1444" y="373"/>
                    <a:pt x="1427" y="364"/>
                    <a:pt x="1410" y="350"/>
                  </a:cubicBezTo>
                  <a:cubicBezTo>
                    <a:pt x="1429" y="349"/>
                    <a:pt x="1431" y="336"/>
                    <a:pt x="1445" y="325"/>
                  </a:cubicBezTo>
                  <a:cubicBezTo>
                    <a:pt x="1438" y="347"/>
                    <a:pt x="1473" y="350"/>
                    <a:pt x="1484" y="373"/>
                  </a:cubicBezTo>
                  <a:cubicBezTo>
                    <a:pt x="1479" y="361"/>
                    <a:pt x="1487" y="359"/>
                    <a:pt x="1492" y="360"/>
                  </a:cubicBezTo>
                  <a:cubicBezTo>
                    <a:pt x="1452" y="333"/>
                    <a:pt x="1452" y="333"/>
                    <a:pt x="1452" y="333"/>
                  </a:cubicBezTo>
                  <a:cubicBezTo>
                    <a:pt x="1465" y="325"/>
                    <a:pt x="1456" y="319"/>
                    <a:pt x="1452" y="307"/>
                  </a:cubicBezTo>
                  <a:cubicBezTo>
                    <a:pt x="1436" y="331"/>
                    <a:pt x="1416" y="294"/>
                    <a:pt x="1398" y="287"/>
                  </a:cubicBezTo>
                  <a:cubicBezTo>
                    <a:pt x="1404" y="279"/>
                    <a:pt x="1414" y="276"/>
                    <a:pt x="1427" y="294"/>
                  </a:cubicBezTo>
                  <a:cubicBezTo>
                    <a:pt x="1427" y="278"/>
                    <a:pt x="1416" y="277"/>
                    <a:pt x="1404" y="278"/>
                  </a:cubicBezTo>
                  <a:cubicBezTo>
                    <a:pt x="1392" y="278"/>
                    <a:pt x="1380" y="280"/>
                    <a:pt x="1379" y="265"/>
                  </a:cubicBezTo>
                  <a:cubicBezTo>
                    <a:pt x="1382" y="269"/>
                    <a:pt x="1383" y="272"/>
                    <a:pt x="1388" y="270"/>
                  </a:cubicBezTo>
                  <a:cubicBezTo>
                    <a:pt x="1373" y="268"/>
                    <a:pt x="1357" y="242"/>
                    <a:pt x="1367" y="241"/>
                  </a:cubicBezTo>
                  <a:cubicBezTo>
                    <a:pt x="1371" y="244"/>
                    <a:pt x="1371" y="244"/>
                    <a:pt x="1371" y="244"/>
                  </a:cubicBezTo>
                  <a:cubicBezTo>
                    <a:pt x="1349" y="217"/>
                    <a:pt x="1288" y="177"/>
                    <a:pt x="1270" y="196"/>
                  </a:cubicBezTo>
                  <a:cubicBezTo>
                    <a:pt x="1271" y="193"/>
                    <a:pt x="1290" y="173"/>
                    <a:pt x="1295" y="170"/>
                  </a:cubicBezTo>
                  <a:cubicBezTo>
                    <a:pt x="1272" y="178"/>
                    <a:pt x="1250" y="187"/>
                    <a:pt x="1229" y="196"/>
                  </a:cubicBezTo>
                  <a:cubicBezTo>
                    <a:pt x="1224" y="193"/>
                    <a:pt x="1218" y="190"/>
                    <a:pt x="1213" y="186"/>
                  </a:cubicBezTo>
                  <a:cubicBezTo>
                    <a:pt x="1222" y="165"/>
                    <a:pt x="1232" y="140"/>
                    <a:pt x="1253" y="143"/>
                  </a:cubicBezTo>
                  <a:cubicBezTo>
                    <a:pt x="1248" y="136"/>
                    <a:pt x="1240" y="128"/>
                    <a:pt x="1221" y="127"/>
                  </a:cubicBezTo>
                  <a:cubicBezTo>
                    <a:pt x="1224" y="132"/>
                    <a:pt x="1218" y="160"/>
                    <a:pt x="1211" y="158"/>
                  </a:cubicBezTo>
                  <a:cubicBezTo>
                    <a:pt x="1203" y="128"/>
                    <a:pt x="1204" y="140"/>
                    <a:pt x="1190" y="110"/>
                  </a:cubicBezTo>
                  <a:cubicBezTo>
                    <a:pt x="1195" y="118"/>
                    <a:pt x="1173" y="143"/>
                    <a:pt x="1161" y="138"/>
                  </a:cubicBezTo>
                  <a:cubicBezTo>
                    <a:pt x="1165" y="134"/>
                    <a:pt x="1174" y="107"/>
                    <a:pt x="1180" y="106"/>
                  </a:cubicBezTo>
                  <a:cubicBezTo>
                    <a:pt x="1165" y="112"/>
                    <a:pt x="1150" y="117"/>
                    <a:pt x="1136" y="123"/>
                  </a:cubicBezTo>
                  <a:cubicBezTo>
                    <a:pt x="1146" y="121"/>
                    <a:pt x="1149" y="98"/>
                    <a:pt x="1145" y="87"/>
                  </a:cubicBezTo>
                  <a:cubicBezTo>
                    <a:pt x="1146" y="94"/>
                    <a:pt x="1118" y="74"/>
                    <a:pt x="1108" y="75"/>
                  </a:cubicBezTo>
                  <a:cubicBezTo>
                    <a:pt x="1119" y="87"/>
                    <a:pt x="1119" y="87"/>
                    <a:pt x="1119" y="87"/>
                  </a:cubicBezTo>
                  <a:cubicBezTo>
                    <a:pt x="1085" y="71"/>
                    <a:pt x="1070" y="118"/>
                    <a:pt x="1036" y="106"/>
                  </a:cubicBezTo>
                  <a:cubicBezTo>
                    <a:pt x="1042" y="101"/>
                    <a:pt x="1059" y="69"/>
                    <a:pt x="1041" y="61"/>
                  </a:cubicBezTo>
                  <a:cubicBezTo>
                    <a:pt x="1034" y="68"/>
                    <a:pt x="1019" y="87"/>
                    <a:pt x="1001" y="104"/>
                  </a:cubicBezTo>
                  <a:cubicBezTo>
                    <a:pt x="988" y="101"/>
                    <a:pt x="975" y="98"/>
                    <a:pt x="962" y="96"/>
                  </a:cubicBezTo>
                  <a:cubicBezTo>
                    <a:pt x="965" y="93"/>
                    <a:pt x="968" y="91"/>
                    <a:pt x="970" y="89"/>
                  </a:cubicBezTo>
                  <a:cubicBezTo>
                    <a:pt x="989" y="73"/>
                    <a:pt x="1009" y="59"/>
                    <a:pt x="1024" y="52"/>
                  </a:cubicBezTo>
                  <a:cubicBezTo>
                    <a:pt x="1012" y="41"/>
                    <a:pt x="1023" y="40"/>
                    <a:pt x="1002" y="36"/>
                  </a:cubicBezTo>
                  <a:cubicBezTo>
                    <a:pt x="996" y="25"/>
                    <a:pt x="1016" y="25"/>
                    <a:pt x="1023" y="27"/>
                  </a:cubicBezTo>
                  <a:cubicBezTo>
                    <a:pt x="1007" y="21"/>
                    <a:pt x="991" y="14"/>
                    <a:pt x="974" y="10"/>
                  </a:cubicBezTo>
                  <a:cubicBezTo>
                    <a:pt x="973" y="30"/>
                    <a:pt x="933" y="23"/>
                    <a:pt x="933" y="39"/>
                  </a:cubicBezTo>
                  <a:cubicBezTo>
                    <a:pt x="989" y="28"/>
                    <a:pt x="989" y="28"/>
                    <a:pt x="989" y="28"/>
                  </a:cubicBezTo>
                  <a:cubicBezTo>
                    <a:pt x="987" y="48"/>
                    <a:pt x="948" y="78"/>
                    <a:pt x="916" y="69"/>
                  </a:cubicBezTo>
                  <a:cubicBezTo>
                    <a:pt x="909" y="60"/>
                    <a:pt x="927" y="35"/>
                    <a:pt x="928" y="29"/>
                  </a:cubicBezTo>
                  <a:cubicBezTo>
                    <a:pt x="922" y="34"/>
                    <a:pt x="893" y="38"/>
                    <a:pt x="891" y="33"/>
                  </a:cubicBezTo>
                  <a:cubicBezTo>
                    <a:pt x="907" y="24"/>
                    <a:pt x="907" y="24"/>
                    <a:pt x="907" y="24"/>
                  </a:cubicBezTo>
                  <a:cubicBezTo>
                    <a:pt x="888" y="15"/>
                    <a:pt x="873" y="47"/>
                    <a:pt x="851" y="26"/>
                  </a:cubicBezTo>
                  <a:cubicBezTo>
                    <a:pt x="843" y="24"/>
                    <a:pt x="828" y="0"/>
                    <a:pt x="826" y="11"/>
                  </a:cubicBezTo>
                  <a:cubicBezTo>
                    <a:pt x="834" y="25"/>
                    <a:pt x="836" y="55"/>
                    <a:pt x="835" y="80"/>
                  </a:cubicBezTo>
                  <a:cubicBezTo>
                    <a:pt x="826" y="80"/>
                    <a:pt x="818" y="80"/>
                    <a:pt x="809" y="80"/>
                  </a:cubicBezTo>
                  <a:cubicBezTo>
                    <a:pt x="810" y="72"/>
                    <a:pt x="810" y="72"/>
                    <a:pt x="810" y="72"/>
                  </a:cubicBezTo>
                  <a:cubicBezTo>
                    <a:pt x="805" y="72"/>
                    <a:pt x="805" y="72"/>
                    <a:pt x="805" y="72"/>
                  </a:cubicBezTo>
                  <a:cubicBezTo>
                    <a:pt x="805" y="80"/>
                    <a:pt x="805" y="80"/>
                    <a:pt x="805" y="80"/>
                  </a:cubicBezTo>
                  <a:cubicBezTo>
                    <a:pt x="797" y="79"/>
                    <a:pt x="788" y="79"/>
                    <a:pt x="779" y="79"/>
                  </a:cubicBezTo>
                  <a:cubicBezTo>
                    <a:pt x="776" y="62"/>
                    <a:pt x="799" y="43"/>
                    <a:pt x="790" y="29"/>
                  </a:cubicBezTo>
                  <a:cubicBezTo>
                    <a:pt x="789" y="35"/>
                    <a:pt x="782" y="41"/>
                    <a:pt x="779" y="43"/>
                  </a:cubicBezTo>
                  <a:cubicBezTo>
                    <a:pt x="771" y="39"/>
                    <a:pt x="783" y="26"/>
                    <a:pt x="764" y="30"/>
                  </a:cubicBezTo>
                  <a:cubicBezTo>
                    <a:pt x="762" y="50"/>
                    <a:pt x="728" y="30"/>
                    <a:pt x="756" y="47"/>
                  </a:cubicBezTo>
                  <a:cubicBezTo>
                    <a:pt x="739" y="53"/>
                    <a:pt x="738" y="44"/>
                    <a:pt x="717" y="45"/>
                  </a:cubicBezTo>
                  <a:cubicBezTo>
                    <a:pt x="721" y="52"/>
                    <a:pt x="717" y="63"/>
                    <a:pt x="710" y="73"/>
                  </a:cubicBezTo>
                  <a:cubicBezTo>
                    <a:pt x="708" y="77"/>
                    <a:pt x="706" y="80"/>
                    <a:pt x="703" y="83"/>
                  </a:cubicBezTo>
                  <a:cubicBezTo>
                    <a:pt x="696" y="84"/>
                    <a:pt x="689" y="85"/>
                    <a:pt x="681" y="85"/>
                  </a:cubicBezTo>
                  <a:cubicBezTo>
                    <a:pt x="681" y="85"/>
                    <a:pt x="681" y="84"/>
                    <a:pt x="680" y="84"/>
                  </a:cubicBezTo>
                  <a:cubicBezTo>
                    <a:pt x="646" y="86"/>
                    <a:pt x="626" y="81"/>
                    <a:pt x="593" y="88"/>
                  </a:cubicBezTo>
                  <a:cubicBezTo>
                    <a:pt x="590" y="83"/>
                    <a:pt x="573" y="81"/>
                    <a:pt x="577" y="71"/>
                  </a:cubicBezTo>
                  <a:cubicBezTo>
                    <a:pt x="573" y="75"/>
                    <a:pt x="571" y="83"/>
                    <a:pt x="561" y="86"/>
                  </a:cubicBezTo>
                  <a:cubicBezTo>
                    <a:pt x="537" y="75"/>
                    <a:pt x="582" y="78"/>
                    <a:pt x="563" y="62"/>
                  </a:cubicBezTo>
                  <a:cubicBezTo>
                    <a:pt x="564" y="73"/>
                    <a:pt x="541" y="84"/>
                    <a:pt x="529" y="95"/>
                  </a:cubicBezTo>
                  <a:cubicBezTo>
                    <a:pt x="538" y="111"/>
                    <a:pt x="562" y="90"/>
                    <a:pt x="574" y="79"/>
                  </a:cubicBezTo>
                  <a:cubicBezTo>
                    <a:pt x="576" y="87"/>
                    <a:pt x="575" y="96"/>
                    <a:pt x="572" y="105"/>
                  </a:cubicBezTo>
                  <a:cubicBezTo>
                    <a:pt x="538" y="114"/>
                    <a:pt x="505" y="124"/>
                    <a:pt x="472" y="137"/>
                  </a:cubicBezTo>
                  <a:cubicBezTo>
                    <a:pt x="461" y="137"/>
                    <a:pt x="446" y="142"/>
                    <a:pt x="430" y="150"/>
                  </a:cubicBezTo>
                  <a:cubicBezTo>
                    <a:pt x="419" y="155"/>
                    <a:pt x="407" y="160"/>
                    <a:pt x="395" y="165"/>
                  </a:cubicBezTo>
                  <a:cubicBezTo>
                    <a:pt x="384" y="169"/>
                    <a:pt x="373" y="174"/>
                    <a:pt x="362" y="176"/>
                  </a:cubicBezTo>
                  <a:cubicBezTo>
                    <a:pt x="360" y="182"/>
                    <a:pt x="356" y="188"/>
                    <a:pt x="356" y="192"/>
                  </a:cubicBezTo>
                  <a:cubicBezTo>
                    <a:pt x="339" y="202"/>
                    <a:pt x="323" y="213"/>
                    <a:pt x="308" y="224"/>
                  </a:cubicBezTo>
                  <a:cubicBezTo>
                    <a:pt x="291" y="231"/>
                    <a:pt x="291" y="231"/>
                    <a:pt x="291" y="231"/>
                  </a:cubicBezTo>
                  <a:cubicBezTo>
                    <a:pt x="297" y="230"/>
                    <a:pt x="297" y="230"/>
                    <a:pt x="297" y="230"/>
                  </a:cubicBezTo>
                  <a:cubicBezTo>
                    <a:pt x="307" y="224"/>
                    <a:pt x="307" y="224"/>
                    <a:pt x="307" y="224"/>
                  </a:cubicBezTo>
                  <a:cubicBezTo>
                    <a:pt x="287" y="239"/>
                    <a:pt x="267" y="254"/>
                    <a:pt x="248" y="271"/>
                  </a:cubicBezTo>
                  <a:cubicBezTo>
                    <a:pt x="247" y="269"/>
                    <a:pt x="246" y="267"/>
                    <a:pt x="244" y="266"/>
                  </a:cubicBezTo>
                  <a:cubicBezTo>
                    <a:pt x="241" y="272"/>
                    <a:pt x="238" y="277"/>
                    <a:pt x="235" y="283"/>
                  </a:cubicBezTo>
                  <a:cubicBezTo>
                    <a:pt x="235" y="283"/>
                    <a:pt x="235" y="283"/>
                    <a:pt x="235" y="284"/>
                  </a:cubicBezTo>
                  <a:cubicBezTo>
                    <a:pt x="232" y="281"/>
                    <a:pt x="233" y="273"/>
                    <a:pt x="228" y="275"/>
                  </a:cubicBezTo>
                  <a:cubicBezTo>
                    <a:pt x="230" y="278"/>
                    <a:pt x="230" y="283"/>
                    <a:pt x="230" y="288"/>
                  </a:cubicBezTo>
                  <a:cubicBezTo>
                    <a:pt x="223" y="295"/>
                    <a:pt x="216" y="301"/>
                    <a:pt x="210" y="308"/>
                  </a:cubicBezTo>
                  <a:cubicBezTo>
                    <a:pt x="209" y="308"/>
                    <a:pt x="209" y="308"/>
                    <a:pt x="209" y="308"/>
                  </a:cubicBezTo>
                  <a:cubicBezTo>
                    <a:pt x="209" y="308"/>
                    <a:pt x="209" y="308"/>
                    <a:pt x="209" y="309"/>
                  </a:cubicBezTo>
                  <a:cubicBezTo>
                    <a:pt x="203" y="314"/>
                    <a:pt x="198" y="320"/>
                    <a:pt x="193" y="326"/>
                  </a:cubicBezTo>
                  <a:cubicBezTo>
                    <a:pt x="192" y="327"/>
                    <a:pt x="191" y="327"/>
                    <a:pt x="189" y="328"/>
                  </a:cubicBezTo>
                  <a:cubicBezTo>
                    <a:pt x="189" y="330"/>
                    <a:pt x="188" y="331"/>
                    <a:pt x="187" y="333"/>
                  </a:cubicBezTo>
                  <a:cubicBezTo>
                    <a:pt x="74" y="464"/>
                    <a:pt x="8" y="645"/>
                    <a:pt x="29" y="879"/>
                  </a:cubicBezTo>
                  <a:cubicBezTo>
                    <a:pt x="30" y="893"/>
                    <a:pt x="31" y="907"/>
                    <a:pt x="33" y="920"/>
                  </a:cubicBezTo>
                  <a:cubicBezTo>
                    <a:pt x="23" y="929"/>
                    <a:pt x="12" y="939"/>
                    <a:pt x="0" y="940"/>
                  </a:cubicBezTo>
                  <a:cubicBezTo>
                    <a:pt x="13" y="949"/>
                    <a:pt x="9" y="963"/>
                    <a:pt x="6" y="981"/>
                  </a:cubicBezTo>
                  <a:cubicBezTo>
                    <a:pt x="4" y="998"/>
                    <a:pt x="1" y="1019"/>
                    <a:pt x="26" y="1028"/>
                  </a:cubicBezTo>
                  <a:cubicBezTo>
                    <a:pt x="24" y="1037"/>
                    <a:pt x="15" y="1025"/>
                    <a:pt x="10" y="1032"/>
                  </a:cubicBezTo>
                  <a:cubicBezTo>
                    <a:pt x="25" y="1036"/>
                    <a:pt x="32" y="1044"/>
                    <a:pt x="36" y="1064"/>
                  </a:cubicBezTo>
                  <a:cubicBezTo>
                    <a:pt x="33" y="1064"/>
                    <a:pt x="33" y="1064"/>
                    <a:pt x="33" y="1064"/>
                  </a:cubicBezTo>
                  <a:cubicBezTo>
                    <a:pt x="36" y="1070"/>
                    <a:pt x="39" y="1076"/>
                    <a:pt x="42" y="1081"/>
                  </a:cubicBezTo>
                  <a:cubicBezTo>
                    <a:pt x="45" y="1087"/>
                    <a:pt x="48" y="1092"/>
                    <a:pt x="51" y="1097"/>
                  </a:cubicBezTo>
                  <a:cubicBezTo>
                    <a:pt x="57" y="1106"/>
                    <a:pt x="62" y="1116"/>
                    <a:pt x="66" y="1126"/>
                  </a:cubicBezTo>
                  <a:cubicBezTo>
                    <a:pt x="75" y="1146"/>
                    <a:pt x="87" y="1164"/>
                    <a:pt x="106" y="1191"/>
                  </a:cubicBezTo>
                  <a:cubicBezTo>
                    <a:pt x="113" y="1178"/>
                    <a:pt x="113" y="1178"/>
                    <a:pt x="113" y="1178"/>
                  </a:cubicBezTo>
                  <a:cubicBezTo>
                    <a:pt x="121" y="1189"/>
                    <a:pt x="119" y="1195"/>
                    <a:pt x="122" y="1202"/>
                  </a:cubicBezTo>
                  <a:cubicBezTo>
                    <a:pt x="147" y="1198"/>
                    <a:pt x="96" y="1173"/>
                    <a:pt x="122" y="1167"/>
                  </a:cubicBezTo>
                  <a:cubicBezTo>
                    <a:pt x="120" y="1175"/>
                    <a:pt x="123" y="1184"/>
                    <a:pt x="129" y="1192"/>
                  </a:cubicBezTo>
                  <a:cubicBezTo>
                    <a:pt x="135" y="1200"/>
                    <a:pt x="144" y="1208"/>
                    <a:pt x="153" y="1216"/>
                  </a:cubicBezTo>
                  <a:cubicBezTo>
                    <a:pt x="170" y="1231"/>
                    <a:pt x="186" y="1246"/>
                    <a:pt x="182" y="1262"/>
                  </a:cubicBezTo>
                  <a:cubicBezTo>
                    <a:pt x="199" y="1274"/>
                    <a:pt x="186" y="1245"/>
                    <a:pt x="203" y="1257"/>
                  </a:cubicBezTo>
                  <a:cubicBezTo>
                    <a:pt x="203" y="1267"/>
                    <a:pt x="203" y="1267"/>
                    <a:pt x="203" y="1267"/>
                  </a:cubicBezTo>
                  <a:cubicBezTo>
                    <a:pt x="214" y="1261"/>
                    <a:pt x="214" y="1261"/>
                    <a:pt x="214" y="1261"/>
                  </a:cubicBezTo>
                  <a:cubicBezTo>
                    <a:pt x="224" y="1270"/>
                    <a:pt x="224" y="1283"/>
                    <a:pt x="220" y="1289"/>
                  </a:cubicBezTo>
                  <a:cubicBezTo>
                    <a:pt x="218" y="1287"/>
                    <a:pt x="211" y="1286"/>
                    <a:pt x="208" y="1284"/>
                  </a:cubicBezTo>
                  <a:cubicBezTo>
                    <a:pt x="217" y="1304"/>
                    <a:pt x="253" y="1308"/>
                    <a:pt x="256" y="1313"/>
                  </a:cubicBezTo>
                  <a:cubicBezTo>
                    <a:pt x="241" y="1299"/>
                    <a:pt x="241" y="1299"/>
                    <a:pt x="241" y="1299"/>
                  </a:cubicBezTo>
                  <a:cubicBezTo>
                    <a:pt x="294" y="1320"/>
                    <a:pt x="352" y="1359"/>
                    <a:pt x="409" y="1359"/>
                  </a:cubicBezTo>
                  <a:cubicBezTo>
                    <a:pt x="407" y="1351"/>
                    <a:pt x="407" y="1351"/>
                    <a:pt x="407" y="1351"/>
                  </a:cubicBezTo>
                  <a:cubicBezTo>
                    <a:pt x="449" y="1352"/>
                    <a:pt x="435" y="1369"/>
                    <a:pt x="479" y="1375"/>
                  </a:cubicBezTo>
                  <a:cubicBezTo>
                    <a:pt x="477" y="1376"/>
                    <a:pt x="477" y="1376"/>
                    <a:pt x="477" y="1376"/>
                  </a:cubicBezTo>
                  <a:cubicBezTo>
                    <a:pt x="487" y="1372"/>
                    <a:pt x="500" y="1372"/>
                    <a:pt x="511" y="1375"/>
                  </a:cubicBezTo>
                  <a:cubicBezTo>
                    <a:pt x="498" y="1380"/>
                    <a:pt x="528" y="1395"/>
                    <a:pt x="512" y="1399"/>
                  </a:cubicBezTo>
                  <a:cubicBezTo>
                    <a:pt x="557" y="1396"/>
                    <a:pt x="535" y="1394"/>
                    <a:pt x="568" y="1376"/>
                  </a:cubicBezTo>
                  <a:cubicBezTo>
                    <a:pt x="572" y="1387"/>
                    <a:pt x="572" y="1387"/>
                    <a:pt x="572" y="1387"/>
                  </a:cubicBezTo>
                  <a:cubicBezTo>
                    <a:pt x="583" y="1380"/>
                    <a:pt x="585" y="1375"/>
                    <a:pt x="606" y="1376"/>
                  </a:cubicBezTo>
                  <a:cubicBezTo>
                    <a:pt x="588" y="1382"/>
                    <a:pt x="618" y="1395"/>
                    <a:pt x="596" y="1403"/>
                  </a:cubicBezTo>
                  <a:cubicBezTo>
                    <a:pt x="639" y="1433"/>
                    <a:pt x="666" y="1388"/>
                    <a:pt x="684" y="1424"/>
                  </a:cubicBezTo>
                  <a:cubicBezTo>
                    <a:pt x="707" y="1397"/>
                    <a:pt x="646" y="1404"/>
                    <a:pt x="658" y="1398"/>
                  </a:cubicBezTo>
                  <a:cubicBezTo>
                    <a:pt x="650" y="1387"/>
                    <a:pt x="677" y="1379"/>
                    <a:pt x="691" y="1382"/>
                  </a:cubicBezTo>
                  <a:cubicBezTo>
                    <a:pt x="705" y="1384"/>
                    <a:pt x="713" y="1422"/>
                    <a:pt x="750" y="1423"/>
                  </a:cubicBezTo>
                  <a:cubicBezTo>
                    <a:pt x="746" y="1423"/>
                    <a:pt x="746" y="1425"/>
                    <a:pt x="742" y="1425"/>
                  </a:cubicBezTo>
                  <a:cubicBezTo>
                    <a:pt x="756" y="1433"/>
                    <a:pt x="770" y="1416"/>
                    <a:pt x="787" y="1428"/>
                  </a:cubicBezTo>
                  <a:cubicBezTo>
                    <a:pt x="796" y="1409"/>
                    <a:pt x="809" y="1428"/>
                    <a:pt x="811" y="1405"/>
                  </a:cubicBezTo>
                  <a:cubicBezTo>
                    <a:pt x="778" y="1411"/>
                    <a:pt x="778" y="1411"/>
                    <a:pt x="778" y="1411"/>
                  </a:cubicBezTo>
                  <a:cubicBezTo>
                    <a:pt x="797" y="1405"/>
                    <a:pt x="814" y="1378"/>
                    <a:pt x="845" y="1390"/>
                  </a:cubicBezTo>
                  <a:cubicBezTo>
                    <a:pt x="843" y="1395"/>
                    <a:pt x="834" y="1401"/>
                    <a:pt x="827" y="1405"/>
                  </a:cubicBezTo>
                  <a:cubicBezTo>
                    <a:pt x="837" y="1411"/>
                    <a:pt x="845" y="1400"/>
                    <a:pt x="855" y="1406"/>
                  </a:cubicBezTo>
                  <a:cubicBezTo>
                    <a:pt x="853" y="1430"/>
                    <a:pt x="814" y="1412"/>
                    <a:pt x="794" y="1430"/>
                  </a:cubicBezTo>
                  <a:cubicBezTo>
                    <a:pt x="804" y="1440"/>
                    <a:pt x="833" y="1413"/>
                    <a:pt x="823" y="1438"/>
                  </a:cubicBezTo>
                  <a:cubicBezTo>
                    <a:pt x="837" y="1407"/>
                    <a:pt x="860" y="1441"/>
                    <a:pt x="883" y="1415"/>
                  </a:cubicBezTo>
                  <a:cubicBezTo>
                    <a:pt x="883" y="1428"/>
                    <a:pt x="883" y="1428"/>
                    <a:pt x="883" y="1428"/>
                  </a:cubicBezTo>
                  <a:cubicBezTo>
                    <a:pt x="887" y="1426"/>
                    <a:pt x="894" y="1419"/>
                    <a:pt x="902" y="1419"/>
                  </a:cubicBezTo>
                  <a:cubicBezTo>
                    <a:pt x="890" y="1438"/>
                    <a:pt x="890" y="1438"/>
                    <a:pt x="890" y="1438"/>
                  </a:cubicBezTo>
                  <a:cubicBezTo>
                    <a:pt x="909" y="1421"/>
                    <a:pt x="931" y="1448"/>
                    <a:pt x="950" y="1437"/>
                  </a:cubicBezTo>
                  <a:cubicBezTo>
                    <a:pt x="909" y="1443"/>
                    <a:pt x="939" y="1421"/>
                    <a:pt x="920" y="1413"/>
                  </a:cubicBezTo>
                  <a:cubicBezTo>
                    <a:pt x="967" y="1389"/>
                    <a:pt x="954" y="1443"/>
                    <a:pt x="1006" y="1431"/>
                  </a:cubicBezTo>
                  <a:cubicBezTo>
                    <a:pt x="997" y="1432"/>
                    <a:pt x="981" y="1426"/>
                    <a:pt x="991" y="1419"/>
                  </a:cubicBezTo>
                  <a:cubicBezTo>
                    <a:pt x="1002" y="1420"/>
                    <a:pt x="1017" y="1423"/>
                    <a:pt x="1025" y="1428"/>
                  </a:cubicBezTo>
                  <a:cubicBezTo>
                    <a:pt x="1062" y="1417"/>
                    <a:pt x="1016" y="1415"/>
                    <a:pt x="1031" y="1404"/>
                  </a:cubicBezTo>
                  <a:cubicBezTo>
                    <a:pt x="1047" y="1417"/>
                    <a:pt x="1047" y="1393"/>
                    <a:pt x="1062" y="1384"/>
                  </a:cubicBezTo>
                  <a:cubicBezTo>
                    <a:pt x="1065" y="1398"/>
                    <a:pt x="1065" y="1398"/>
                    <a:pt x="1065" y="1398"/>
                  </a:cubicBezTo>
                  <a:cubicBezTo>
                    <a:pt x="1110" y="1397"/>
                    <a:pt x="1069" y="1367"/>
                    <a:pt x="1109" y="1368"/>
                  </a:cubicBezTo>
                  <a:cubicBezTo>
                    <a:pt x="1098" y="1391"/>
                    <a:pt x="1098" y="1391"/>
                    <a:pt x="1098" y="1391"/>
                  </a:cubicBezTo>
                  <a:cubicBezTo>
                    <a:pt x="1117" y="1380"/>
                    <a:pt x="1117" y="1380"/>
                    <a:pt x="1117" y="1380"/>
                  </a:cubicBezTo>
                  <a:cubicBezTo>
                    <a:pt x="1117" y="1397"/>
                    <a:pt x="1117" y="1397"/>
                    <a:pt x="1117" y="1397"/>
                  </a:cubicBezTo>
                  <a:cubicBezTo>
                    <a:pt x="1135" y="1379"/>
                    <a:pt x="1142" y="1380"/>
                    <a:pt x="1165" y="1378"/>
                  </a:cubicBezTo>
                  <a:cubicBezTo>
                    <a:pt x="1157" y="1370"/>
                    <a:pt x="1159" y="1353"/>
                    <a:pt x="1176" y="1346"/>
                  </a:cubicBezTo>
                  <a:cubicBezTo>
                    <a:pt x="1191" y="1349"/>
                    <a:pt x="1174" y="1361"/>
                    <a:pt x="1199" y="1349"/>
                  </a:cubicBezTo>
                  <a:cubicBezTo>
                    <a:pt x="1196" y="1359"/>
                    <a:pt x="1194" y="1372"/>
                    <a:pt x="1178" y="1365"/>
                  </a:cubicBezTo>
                  <a:cubicBezTo>
                    <a:pt x="1179" y="1369"/>
                    <a:pt x="1176" y="1375"/>
                    <a:pt x="1176" y="1380"/>
                  </a:cubicBezTo>
                  <a:cubicBezTo>
                    <a:pt x="1193" y="1384"/>
                    <a:pt x="1210" y="1369"/>
                    <a:pt x="1220" y="1365"/>
                  </a:cubicBezTo>
                  <a:cubicBezTo>
                    <a:pt x="1216" y="1366"/>
                    <a:pt x="1211" y="1367"/>
                    <a:pt x="1208" y="1366"/>
                  </a:cubicBezTo>
                  <a:cubicBezTo>
                    <a:pt x="1218" y="1355"/>
                    <a:pt x="1228" y="1344"/>
                    <a:pt x="1238" y="1333"/>
                  </a:cubicBezTo>
                  <a:cubicBezTo>
                    <a:pt x="1245" y="1335"/>
                    <a:pt x="1243" y="1341"/>
                    <a:pt x="1240" y="1347"/>
                  </a:cubicBezTo>
                  <a:cubicBezTo>
                    <a:pt x="1247" y="1342"/>
                    <a:pt x="1249" y="1334"/>
                    <a:pt x="1259" y="1327"/>
                  </a:cubicBezTo>
                  <a:cubicBezTo>
                    <a:pt x="1261" y="1339"/>
                    <a:pt x="1267" y="1349"/>
                    <a:pt x="1254" y="1362"/>
                  </a:cubicBezTo>
                  <a:cubicBezTo>
                    <a:pt x="1283" y="1333"/>
                    <a:pt x="1283" y="1333"/>
                    <a:pt x="1283" y="1333"/>
                  </a:cubicBezTo>
                  <a:cubicBezTo>
                    <a:pt x="1288" y="1337"/>
                    <a:pt x="1307" y="1336"/>
                    <a:pt x="1305" y="1342"/>
                  </a:cubicBezTo>
                  <a:cubicBezTo>
                    <a:pt x="1328" y="1339"/>
                    <a:pt x="1340" y="1296"/>
                    <a:pt x="1369" y="1288"/>
                  </a:cubicBezTo>
                  <a:cubicBezTo>
                    <a:pt x="1369" y="1286"/>
                    <a:pt x="1370" y="1282"/>
                    <a:pt x="1375" y="1278"/>
                  </a:cubicBezTo>
                  <a:cubicBezTo>
                    <a:pt x="1398" y="1264"/>
                    <a:pt x="1426" y="1259"/>
                    <a:pt x="1441" y="1227"/>
                  </a:cubicBezTo>
                  <a:cubicBezTo>
                    <a:pt x="1468" y="1228"/>
                    <a:pt x="1468" y="1228"/>
                    <a:pt x="1468" y="1228"/>
                  </a:cubicBezTo>
                  <a:cubicBezTo>
                    <a:pt x="1484" y="1207"/>
                    <a:pt x="1433" y="1228"/>
                    <a:pt x="1458" y="1192"/>
                  </a:cubicBezTo>
                  <a:cubicBezTo>
                    <a:pt x="1474" y="1166"/>
                    <a:pt x="1478" y="1196"/>
                    <a:pt x="1490" y="1192"/>
                  </a:cubicBezTo>
                  <a:cubicBezTo>
                    <a:pt x="1494" y="1175"/>
                    <a:pt x="1492" y="1141"/>
                    <a:pt x="1522" y="1129"/>
                  </a:cubicBezTo>
                  <a:cubicBezTo>
                    <a:pt x="1520" y="1139"/>
                    <a:pt x="1513" y="1143"/>
                    <a:pt x="1509" y="1150"/>
                  </a:cubicBezTo>
                  <a:cubicBezTo>
                    <a:pt x="1531" y="1140"/>
                    <a:pt x="1531" y="1140"/>
                    <a:pt x="1531" y="1140"/>
                  </a:cubicBezTo>
                  <a:cubicBezTo>
                    <a:pt x="1530" y="1172"/>
                    <a:pt x="1513" y="1184"/>
                    <a:pt x="1538" y="1177"/>
                  </a:cubicBezTo>
                  <a:cubicBezTo>
                    <a:pt x="1524" y="1164"/>
                    <a:pt x="1536" y="1146"/>
                    <a:pt x="1548" y="1128"/>
                  </a:cubicBezTo>
                  <a:cubicBezTo>
                    <a:pt x="1560" y="1111"/>
                    <a:pt x="1568" y="1090"/>
                    <a:pt x="1552" y="1080"/>
                  </a:cubicBezTo>
                  <a:cubicBezTo>
                    <a:pt x="1566" y="1071"/>
                    <a:pt x="1566" y="1071"/>
                    <a:pt x="1566" y="1071"/>
                  </a:cubicBezTo>
                  <a:cubicBezTo>
                    <a:pt x="1564" y="1075"/>
                    <a:pt x="1566" y="1077"/>
                    <a:pt x="1563" y="1080"/>
                  </a:cubicBezTo>
                  <a:cubicBezTo>
                    <a:pt x="1578" y="1072"/>
                    <a:pt x="1575" y="1064"/>
                    <a:pt x="1570" y="1055"/>
                  </a:cubicBezTo>
                  <a:cubicBezTo>
                    <a:pt x="1565" y="1045"/>
                    <a:pt x="1560" y="1035"/>
                    <a:pt x="1568" y="1020"/>
                  </a:cubicBezTo>
                  <a:cubicBezTo>
                    <a:pt x="1575" y="1011"/>
                    <a:pt x="1583" y="1005"/>
                    <a:pt x="1585" y="1014"/>
                  </a:cubicBezTo>
                  <a:cubicBezTo>
                    <a:pt x="1585" y="985"/>
                    <a:pt x="1585" y="985"/>
                    <a:pt x="1585" y="985"/>
                  </a:cubicBezTo>
                  <a:cubicBezTo>
                    <a:pt x="1589" y="978"/>
                    <a:pt x="1595" y="982"/>
                    <a:pt x="1591" y="989"/>
                  </a:cubicBezTo>
                  <a:cubicBezTo>
                    <a:pt x="1595" y="976"/>
                    <a:pt x="1599" y="963"/>
                    <a:pt x="1601" y="949"/>
                  </a:cubicBezTo>
                  <a:cubicBezTo>
                    <a:pt x="1602" y="950"/>
                    <a:pt x="1602" y="950"/>
                    <a:pt x="1602" y="950"/>
                  </a:cubicBezTo>
                  <a:cubicBezTo>
                    <a:pt x="1597" y="942"/>
                    <a:pt x="1591" y="927"/>
                    <a:pt x="1588" y="920"/>
                  </a:cubicBezTo>
                  <a:cubicBezTo>
                    <a:pt x="1596" y="912"/>
                    <a:pt x="1591" y="926"/>
                    <a:pt x="1596" y="925"/>
                  </a:cubicBezTo>
                  <a:cubicBezTo>
                    <a:pt x="1592" y="901"/>
                    <a:pt x="1592" y="901"/>
                    <a:pt x="1592" y="901"/>
                  </a:cubicBezTo>
                  <a:cubicBezTo>
                    <a:pt x="1604" y="894"/>
                    <a:pt x="1610" y="914"/>
                    <a:pt x="1605" y="929"/>
                  </a:cubicBezTo>
                  <a:cubicBezTo>
                    <a:pt x="1626" y="923"/>
                    <a:pt x="1625" y="918"/>
                    <a:pt x="1622" y="909"/>
                  </a:cubicBezTo>
                  <a:cubicBezTo>
                    <a:pt x="1619" y="900"/>
                    <a:pt x="1617" y="889"/>
                    <a:pt x="1629" y="868"/>
                  </a:cubicBezTo>
                  <a:cubicBezTo>
                    <a:pt x="1630" y="875"/>
                    <a:pt x="1632" y="882"/>
                    <a:pt x="1632" y="890"/>
                  </a:cubicBezTo>
                  <a:cubicBezTo>
                    <a:pt x="1656" y="879"/>
                    <a:pt x="1649" y="861"/>
                    <a:pt x="1665" y="836"/>
                  </a:cubicBezTo>
                  <a:cubicBezTo>
                    <a:pt x="1657" y="843"/>
                    <a:pt x="1626" y="883"/>
                    <a:pt x="1618" y="857"/>
                  </a:cubicBezTo>
                  <a:close/>
                  <a:moveTo>
                    <a:pt x="1500" y="445"/>
                  </a:moveTo>
                  <a:cubicBezTo>
                    <a:pt x="1497" y="441"/>
                    <a:pt x="1494" y="436"/>
                    <a:pt x="1494" y="428"/>
                  </a:cubicBezTo>
                  <a:cubicBezTo>
                    <a:pt x="1500" y="430"/>
                    <a:pt x="1502" y="436"/>
                    <a:pt x="1500" y="445"/>
                  </a:cubicBezTo>
                  <a:close/>
                  <a:moveTo>
                    <a:pt x="1620" y="880"/>
                  </a:moveTo>
                  <a:cubicBezTo>
                    <a:pt x="1605" y="871"/>
                    <a:pt x="1613" y="867"/>
                    <a:pt x="1618" y="857"/>
                  </a:cubicBezTo>
                  <a:cubicBezTo>
                    <a:pt x="1620" y="864"/>
                    <a:pt x="1628" y="877"/>
                    <a:pt x="1620" y="88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6" name="Freeform 31">
              <a:extLst>
                <a:ext uri="{FF2B5EF4-FFF2-40B4-BE49-F238E27FC236}">
                  <a16:creationId xmlns:a16="http://schemas.microsoft.com/office/drawing/2014/main" id="{7D803C9E-2878-43CF-9690-56BFCB7F85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8" y="1551"/>
              <a:ext cx="15" cy="16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6 h 7"/>
                <a:gd name="T4" fmla="*/ 6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5" y="3"/>
                    <a:pt x="3" y="4"/>
                    <a:pt x="0" y="6"/>
                  </a:cubicBezTo>
                  <a:cubicBezTo>
                    <a:pt x="3" y="7"/>
                    <a:pt x="6" y="6"/>
                    <a:pt x="6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7" name="Freeform 32">
              <a:extLst>
                <a:ext uri="{FF2B5EF4-FFF2-40B4-BE49-F238E27FC236}">
                  <a16:creationId xmlns:a16="http://schemas.microsoft.com/office/drawing/2014/main" id="{E0A2E188-A75E-4798-8358-D4D7E60413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3" y="3490"/>
              <a:ext cx="3" cy="7"/>
            </a:xfrm>
            <a:custGeom>
              <a:avLst/>
              <a:gdLst>
                <a:gd name="T0" fmla="*/ 0 w 1"/>
                <a:gd name="T1" fmla="*/ 0 h 3"/>
                <a:gd name="T2" fmla="*/ 1 w 1"/>
                <a:gd name="T3" fmla="*/ 3 h 3"/>
                <a:gd name="T4" fmla="*/ 1 w 1"/>
                <a:gd name="T5" fmla="*/ 0 h 3"/>
                <a:gd name="T6" fmla="*/ 0 w 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8" name="Freeform 33">
              <a:extLst>
                <a:ext uri="{FF2B5EF4-FFF2-40B4-BE49-F238E27FC236}">
                  <a16:creationId xmlns:a16="http://schemas.microsoft.com/office/drawing/2014/main" id="{E1D56BC3-FD45-4357-9E6F-F5D9E89A40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1" y="507"/>
              <a:ext cx="26" cy="17"/>
            </a:xfrm>
            <a:custGeom>
              <a:avLst/>
              <a:gdLst>
                <a:gd name="T0" fmla="*/ 0 w 11"/>
                <a:gd name="T1" fmla="*/ 0 h 7"/>
                <a:gd name="T2" fmla="*/ 11 w 11"/>
                <a:gd name="T3" fmla="*/ 7 h 7"/>
                <a:gd name="T4" fmla="*/ 0 w 1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cubicBezTo>
                    <a:pt x="6" y="2"/>
                    <a:pt x="9" y="5"/>
                    <a:pt x="11" y="7"/>
                  </a:cubicBezTo>
                  <a:cubicBezTo>
                    <a:pt x="11" y="4"/>
                    <a:pt x="9" y="1"/>
                    <a:pt x="0" y="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69" name="Freeform 34">
              <a:extLst>
                <a:ext uri="{FF2B5EF4-FFF2-40B4-BE49-F238E27FC236}">
                  <a16:creationId xmlns:a16="http://schemas.microsoft.com/office/drawing/2014/main" id="{5DD7A972-D318-445A-8582-C35D687DCC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" y="703"/>
              <a:ext cx="31" cy="40"/>
            </a:xfrm>
            <a:custGeom>
              <a:avLst/>
              <a:gdLst>
                <a:gd name="T0" fmla="*/ 7 w 13"/>
                <a:gd name="T1" fmla="*/ 0 h 17"/>
                <a:gd name="T2" fmla="*/ 0 w 13"/>
                <a:gd name="T3" fmla="*/ 10 h 17"/>
                <a:gd name="T4" fmla="*/ 13 w 13"/>
                <a:gd name="T5" fmla="*/ 17 h 17"/>
                <a:gd name="T6" fmla="*/ 7 w 13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7">
                  <a:moveTo>
                    <a:pt x="7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6" y="11"/>
                    <a:pt x="8" y="14"/>
                    <a:pt x="13" y="17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0" name="Freeform 35">
              <a:extLst>
                <a:ext uri="{FF2B5EF4-FFF2-40B4-BE49-F238E27FC236}">
                  <a16:creationId xmlns:a16="http://schemas.microsoft.com/office/drawing/2014/main" id="{86A6F357-C5AD-4150-A526-5899A0BCA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2" y="618"/>
              <a:ext cx="104" cy="56"/>
            </a:xfrm>
            <a:custGeom>
              <a:avLst/>
              <a:gdLst>
                <a:gd name="T0" fmla="*/ 19 w 44"/>
                <a:gd name="T1" fmla="*/ 22 h 24"/>
                <a:gd name="T2" fmla="*/ 19 w 44"/>
                <a:gd name="T3" fmla="*/ 8 h 24"/>
                <a:gd name="T4" fmla="*/ 19 w 44"/>
                <a:gd name="T5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4">
                  <a:moveTo>
                    <a:pt x="19" y="22"/>
                  </a:moveTo>
                  <a:cubicBezTo>
                    <a:pt x="20" y="17"/>
                    <a:pt x="44" y="0"/>
                    <a:pt x="19" y="8"/>
                  </a:cubicBezTo>
                  <a:cubicBezTo>
                    <a:pt x="18" y="13"/>
                    <a:pt x="0" y="24"/>
                    <a:pt x="19" y="22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1" name="Freeform 36">
              <a:extLst>
                <a:ext uri="{FF2B5EF4-FFF2-40B4-BE49-F238E27FC236}">
                  <a16:creationId xmlns:a16="http://schemas.microsoft.com/office/drawing/2014/main" id="{5A9E10BF-F739-4BF7-A3BD-970DA1F69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35" y="533"/>
              <a:ext cx="90" cy="85"/>
            </a:xfrm>
            <a:custGeom>
              <a:avLst/>
              <a:gdLst>
                <a:gd name="T0" fmla="*/ 16 w 38"/>
                <a:gd name="T1" fmla="*/ 32 h 36"/>
                <a:gd name="T2" fmla="*/ 7 w 38"/>
                <a:gd name="T3" fmla="*/ 33 h 36"/>
                <a:gd name="T4" fmla="*/ 16 w 38"/>
                <a:gd name="T5" fmla="*/ 32 h 36"/>
                <a:gd name="T6" fmla="*/ 16 w 38"/>
                <a:gd name="T7" fmla="*/ 32 h 36"/>
                <a:gd name="T8" fmla="*/ 38 w 38"/>
                <a:gd name="T9" fmla="*/ 15 h 36"/>
                <a:gd name="T10" fmla="*/ 8 w 38"/>
                <a:gd name="T11" fmla="*/ 15 h 36"/>
                <a:gd name="T12" fmla="*/ 16 w 38"/>
                <a:gd name="T13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6">
                  <a:moveTo>
                    <a:pt x="16" y="32"/>
                  </a:moveTo>
                  <a:cubicBezTo>
                    <a:pt x="13" y="32"/>
                    <a:pt x="10" y="32"/>
                    <a:pt x="7" y="33"/>
                  </a:cubicBezTo>
                  <a:cubicBezTo>
                    <a:pt x="12" y="33"/>
                    <a:pt x="14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32" y="29"/>
                    <a:pt x="38" y="36"/>
                    <a:pt x="38" y="15"/>
                  </a:cubicBezTo>
                  <a:cubicBezTo>
                    <a:pt x="16" y="0"/>
                    <a:pt x="27" y="30"/>
                    <a:pt x="8" y="15"/>
                  </a:cubicBezTo>
                  <a:cubicBezTo>
                    <a:pt x="0" y="20"/>
                    <a:pt x="23" y="28"/>
                    <a:pt x="16" y="32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2" name="Freeform 37">
              <a:extLst>
                <a:ext uri="{FF2B5EF4-FFF2-40B4-BE49-F238E27FC236}">
                  <a16:creationId xmlns:a16="http://schemas.microsoft.com/office/drawing/2014/main" id="{1B6C1EA3-91D5-4463-B059-FB52E39296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" y="2366"/>
              <a:ext cx="26" cy="36"/>
            </a:xfrm>
            <a:custGeom>
              <a:avLst/>
              <a:gdLst>
                <a:gd name="T0" fmla="*/ 11 w 11"/>
                <a:gd name="T1" fmla="*/ 1 h 15"/>
                <a:gd name="T2" fmla="*/ 7 w 11"/>
                <a:gd name="T3" fmla="*/ 0 h 15"/>
                <a:gd name="T4" fmla="*/ 0 w 11"/>
                <a:gd name="T5" fmla="*/ 15 h 15"/>
                <a:gd name="T6" fmla="*/ 11 w 11"/>
                <a:gd name="T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5">
                  <a:moveTo>
                    <a:pt x="11" y="1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2" y="3"/>
                    <a:pt x="1" y="7"/>
                    <a:pt x="0" y="15"/>
                  </a:cubicBezTo>
                  <a:lnTo>
                    <a:pt x="11" y="1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3" name="Freeform 38">
              <a:extLst>
                <a:ext uri="{FF2B5EF4-FFF2-40B4-BE49-F238E27FC236}">
                  <a16:creationId xmlns:a16="http://schemas.microsoft.com/office/drawing/2014/main" id="{B2CACC82-0261-4399-9344-881560EB7D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4" y="2901"/>
              <a:ext cx="45" cy="10"/>
            </a:xfrm>
            <a:custGeom>
              <a:avLst/>
              <a:gdLst>
                <a:gd name="T0" fmla="*/ 40 w 45"/>
                <a:gd name="T1" fmla="*/ 10 h 10"/>
                <a:gd name="T2" fmla="*/ 45 w 45"/>
                <a:gd name="T3" fmla="*/ 0 h 10"/>
                <a:gd name="T4" fmla="*/ 0 w 45"/>
                <a:gd name="T5" fmla="*/ 0 h 10"/>
                <a:gd name="T6" fmla="*/ 40 w 45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0">
                  <a:moveTo>
                    <a:pt x="40" y="1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40" y="10"/>
                  </a:ln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  <p:sp>
          <p:nvSpPr>
            <p:cNvPr id="2074" name="Freeform 39">
              <a:extLst>
                <a:ext uri="{FF2B5EF4-FFF2-40B4-BE49-F238E27FC236}">
                  <a16:creationId xmlns:a16="http://schemas.microsoft.com/office/drawing/2014/main" id="{581357D3-0D18-4ECB-91DD-29E03C2B3A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3" y="3283"/>
              <a:ext cx="80" cy="47"/>
            </a:xfrm>
            <a:custGeom>
              <a:avLst/>
              <a:gdLst>
                <a:gd name="T0" fmla="*/ 17 w 34"/>
                <a:gd name="T1" fmla="*/ 20 h 20"/>
                <a:gd name="T2" fmla="*/ 34 w 34"/>
                <a:gd name="T3" fmla="*/ 0 h 20"/>
                <a:gd name="T4" fmla="*/ 17 w 34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20">
                  <a:moveTo>
                    <a:pt x="17" y="20"/>
                  </a:moveTo>
                  <a:cubicBezTo>
                    <a:pt x="24" y="15"/>
                    <a:pt x="28" y="5"/>
                    <a:pt x="34" y="0"/>
                  </a:cubicBezTo>
                  <a:cubicBezTo>
                    <a:pt x="24" y="15"/>
                    <a:pt x="0" y="7"/>
                    <a:pt x="17" y="20"/>
                  </a:cubicBezTo>
                  <a:close/>
                </a:path>
              </a:pathLst>
            </a:custGeom>
            <a:solidFill>
              <a:srgbClr val="D50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960" dirty="0"/>
            </a:p>
          </p:txBody>
        </p:sp>
      </p:grpSp>
      <p:sp>
        <p:nvSpPr>
          <p:cNvPr id="2079" name="Text Placeholder 2078">
            <a:extLst>
              <a:ext uri="{FF2B5EF4-FFF2-40B4-BE49-F238E27FC236}">
                <a16:creationId xmlns:a16="http://schemas.microsoft.com/office/drawing/2014/main" id="{F1F208CA-9DC3-4DD5-B773-E3D0D8596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6228" y="5260424"/>
            <a:ext cx="6512385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73" name="Text Placeholder 2078">
            <a:extLst>
              <a:ext uri="{FF2B5EF4-FFF2-40B4-BE49-F238E27FC236}">
                <a16:creationId xmlns:a16="http://schemas.microsoft.com/office/drawing/2014/main" id="{E5ECC410-2706-40FE-B857-619CE0A892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6227" y="5767077"/>
            <a:ext cx="6512385" cy="290660"/>
          </a:xfrm>
        </p:spPr>
        <p:txBody>
          <a:bodyPr wrap="none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Presenter’s name goes here</a:t>
            </a:r>
          </a:p>
        </p:txBody>
      </p:sp>
      <p:grpSp>
        <p:nvGrpSpPr>
          <p:cNvPr id="80" name="Group 4">
            <a:extLst>
              <a:ext uri="{FF2B5EF4-FFF2-40B4-BE49-F238E27FC236}">
                <a16:creationId xmlns:a16="http://schemas.microsoft.com/office/drawing/2014/main" id="{1B568CDD-A995-4CE1-BC96-4A7C1005C1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2544553"/>
            <a:ext cx="729092" cy="770642"/>
            <a:chOff x="1841" y="2"/>
            <a:chExt cx="4000" cy="4318"/>
          </a:xfrm>
          <a:solidFill>
            <a:schemeClr val="bg1"/>
          </a:solidFill>
        </p:grpSpPr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59ED2881-2F39-4BAD-A794-16314B4479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77969BF3-D7B1-42CE-B7AE-F16F87C2E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A940BB1-CB3B-0B4E-9F39-148F4AA53549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186E643-F37F-A643-A1FB-0DBD19AB9050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3D122C8-69A2-9045-8A39-C0BBDCAE66BA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15478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quare Crop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8" y="0"/>
            <a:ext cx="9906000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1D6D57AC-B035-1541-B330-48F41ADA4D44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26000">
                <a:srgbClr val="D5264D">
                  <a:alpha val="50000"/>
                </a:srgbClr>
              </a:gs>
              <a:gs pos="82000">
                <a:srgbClr val="21558A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 err="1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1175"/>
            <a:ext cx="2542458" cy="184666"/>
            <a:chOff x="446350" y="398130"/>
            <a:chExt cx="2744144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40084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398130"/>
              <a:ext cx="2666184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37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sp>
        <p:nvSpPr>
          <p:cNvPr id="38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010466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E66144ED-BC45-4552-A1A9-6F161EFA6D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9992" y="-1581737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rgbClr val="1D428A">
              <a:alpha val="70000"/>
            </a:srgb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4" name="Group 4">
            <a:extLst>
              <a:ext uri="{FF2B5EF4-FFF2-40B4-BE49-F238E27FC236}">
                <a16:creationId xmlns:a16="http://schemas.microsoft.com/office/drawing/2014/main" id="{4CF9A4E8-D3E5-4DE6-8394-E97C11F0319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92883" y="4769781"/>
            <a:ext cx="1041395" cy="1021289"/>
            <a:chOff x="2737" y="1746"/>
            <a:chExt cx="1266" cy="1268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2644C83-0D5F-4323-84AA-0A123B938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E801706-3A91-44B7-942C-98FC5457A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C4232673-D2FC-4B01-8EB1-D36520428A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2828" y="2558462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980692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Square Crop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10DCE6FB-B50C-0C41-996A-EFDF1908ED9F}"/>
              </a:ext>
            </a:extLst>
          </p:cNvPr>
          <p:cNvSpPr/>
          <p:nvPr userDrawn="1"/>
        </p:nvSpPr>
        <p:spPr>
          <a:xfrm>
            <a:off x="-1" y="0"/>
            <a:ext cx="9905263" cy="687250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D57AC-B035-1541-B330-48F41ADA4D44}"/>
              </a:ext>
            </a:extLst>
          </p:cNvPr>
          <p:cNvSpPr/>
          <p:nvPr userDrawn="1"/>
        </p:nvSpPr>
        <p:spPr>
          <a:xfrm>
            <a:off x="-738" y="14497"/>
            <a:ext cx="9906000" cy="6858011"/>
          </a:xfrm>
          <a:prstGeom prst="rect">
            <a:avLst/>
          </a:prstGeom>
          <a:gradFill>
            <a:gsLst>
              <a:gs pos="26000">
                <a:srgbClr val="D5264D">
                  <a:alpha val="50000"/>
                </a:srgbClr>
              </a:gs>
              <a:gs pos="82000">
                <a:srgbClr val="21558A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 err="1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D3261B0B-59AF-AC42-8E88-1F4183CADE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704780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E66144ED-BC45-4552-A1A9-6F161EFA6D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737" y="-10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chemeClr val="accent5">
              <a:alpha val="7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42458" cy="184666"/>
            <a:chOff x="446350" y="402893"/>
            <a:chExt cx="2744144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6184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4" name="Group 4">
            <a:extLst>
              <a:ext uri="{FF2B5EF4-FFF2-40B4-BE49-F238E27FC236}">
                <a16:creationId xmlns:a16="http://schemas.microsoft.com/office/drawing/2014/main" id="{4CF9A4E8-D3E5-4DE6-8394-E97C11F0319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92883" y="4769781"/>
            <a:ext cx="1041395" cy="1021289"/>
            <a:chOff x="2737" y="1746"/>
            <a:chExt cx="1266" cy="1268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2644C83-0D5F-4323-84AA-0A123B938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E801706-3A91-44B7-942C-98FC5457A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C4232673-D2FC-4B01-8EB1-D36520428A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53737" y="-10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 lang="en-AU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80051E99-EE41-0A46-9C61-38F381221A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B781137-7B33-C743-B9AE-1275E9C3D0AE}"/>
              </a:ext>
            </a:extLst>
          </p:cNvPr>
          <p:cNvGrpSpPr/>
          <p:nvPr userDrawn="1"/>
        </p:nvGrpSpPr>
        <p:grpSpPr>
          <a:xfrm>
            <a:off x="10846461" y="14497"/>
            <a:ext cx="2704348" cy="1969412"/>
            <a:chOff x="6811349" y="1211547"/>
            <a:chExt cx="1910979" cy="3336075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6A77002-2C2D-2F44-BD0E-7B502BE7B64A}"/>
                </a:ext>
              </a:extLst>
            </p:cNvPr>
            <p:cNvSpPr/>
            <p:nvPr/>
          </p:nvSpPr>
          <p:spPr>
            <a:xfrm>
              <a:off x="6948010" y="1798800"/>
              <a:ext cx="1774318" cy="274882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bring visual interest and impact there are images that bleed across the slide. To place in an image select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Fill &gt; Picture or texture </a:t>
              </a:r>
              <a:r>
                <a:rPr lang="en-US" sz="1200" b="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select your image. To crop the image at the right place use the offset sliders.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</a:p>
          </p:txBody>
        </p:sp>
        <p:sp>
          <p:nvSpPr>
            <p:cNvPr id="19" name="Triangle 18">
              <a:extLst>
                <a:ext uri="{FF2B5EF4-FFF2-40B4-BE49-F238E27FC236}">
                  <a16:creationId xmlns:a16="http://schemas.microsoft.com/office/drawing/2014/main" id="{4DD695EE-63D7-8646-8A1B-713C0155A1FC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488DF21-FC92-9F41-9EFE-C17C24855FC5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BLEEDING IMAGES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F807782E-92AA-CA4D-9A3F-98613AD3EC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860" y="2052726"/>
            <a:ext cx="2510950" cy="651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3858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80051E99-EE41-0A46-9C61-38F381221A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B781137-7B33-C743-B9AE-1275E9C3D0AE}"/>
              </a:ext>
            </a:extLst>
          </p:cNvPr>
          <p:cNvGrpSpPr/>
          <p:nvPr userDrawn="1"/>
        </p:nvGrpSpPr>
        <p:grpSpPr>
          <a:xfrm>
            <a:off x="10846461" y="14497"/>
            <a:ext cx="2704348" cy="1969412"/>
            <a:chOff x="6811349" y="1211547"/>
            <a:chExt cx="1910979" cy="3336075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6A77002-2C2D-2F44-BD0E-7B502BE7B64A}"/>
                </a:ext>
              </a:extLst>
            </p:cNvPr>
            <p:cNvSpPr/>
            <p:nvPr/>
          </p:nvSpPr>
          <p:spPr>
            <a:xfrm>
              <a:off x="6948010" y="1798800"/>
              <a:ext cx="1774318" cy="274882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bring visual interest and impact there are images that bleed across the slide. To place in an image select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Fill &gt; Picture or texture </a:t>
              </a:r>
              <a:r>
                <a:rPr lang="en-US" sz="1200" b="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select your image. To crop the image at the right place use the offset sliders.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</a:p>
          </p:txBody>
        </p:sp>
        <p:sp>
          <p:nvSpPr>
            <p:cNvPr id="19" name="Triangle 18">
              <a:extLst>
                <a:ext uri="{FF2B5EF4-FFF2-40B4-BE49-F238E27FC236}">
                  <a16:creationId xmlns:a16="http://schemas.microsoft.com/office/drawing/2014/main" id="{4DD695EE-63D7-8646-8A1B-713C0155A1FC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488DF21-FC92-9F41-9EFE-C17C24855FC5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BLEEDING IMAGES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F807782E-92AA-CA4D-9A3F-98613AD3EC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860" y="2052726"/>
            <a:ext cx="2510950" cy="6519774"/>
          </a:xfrm>
          <a:prstGeom prst="rect">
            <a:avLst/>
          </a:prstGeom>
        </p:spPr>
      </p:pic>
      <p:grpSp>
        <p:nvGrpSpPr>
          <p:cNvPr id="27" name="Group 4">
            <a:extLst>
              <a:ext uri="{FF2B5EF4-FFF2-40B4-BE49-F238E27FC236}">
                <a16:creationId xmlns:a16="http://schemas.microsoft.com/office/drawing/2014/main" id="{4CF9A4E8-D3E5-4DE6-8394-E97C11F0319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92883" y="4769781"/>
            <a:ext cx="1041395" cy="1021289"/>
            <a:chOff x="2737" y="1746"/>
            <a:chExt cx="1266" cy="1268"/>
          </a:xfrm>
          <a:solidFill>
            <a:schemeClr val="bg1"/>
          </a:solidFill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62644C83-0D5F-4323-84AA-0A123B938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2E801706-3A91-44B7-942C-98FC5457A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</p:grpSp>
      <p:sp>
        <p:nvSpPr>
          <p:cNvPr id="30" name="Picture Placeholder 60">
            <a:extLst>
              <a:ext uri="{FF2B5EF4-FFF2-40B4-BE49-F238E27FC236}">
                <a16:creationId xmlns:a16="http://schemas.microsoft.com/office/drawing/2014/main" id="{C4232673-D2FC-4B01-8EB1-D36520428A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53737" y="-10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42458" cy="184666"/>
            <a:chOff x="446350" y="402893"/>
            <a:chExt cx="2744144" cy="20356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6184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702745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1D6D57AC-B035-1541-B330-48F41ADA4D44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26000">
                <a:srgbClr val="D5264D">
                  <a:alpha val="50000"/>
                </a:srgbClr>
              </a:gs>
              <a:gs pos="82000">
                <a:srgbClr val="21558A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 err="1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C77762C-D1E8-41D0-BDF5-16B2E2FB0F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9" y="2823581"/>
            <a:ext cx="4636033" cy="1107996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87694-BCE5-40E5-957D-41D10B21C04A}"/>
              </a:ext>
            </a:extLst>
          </p:cNvPr>
          <p:cNvGrpSpPr/>
          <p:nvPr userDrawn="1"/>
        </p:nvGrpSpPr>
        <p:grpSpPr>
          <a:xfrm>
            <a:off x="337062" y="365496"/>
            <a:ext cx="2542458" cy="184666"/>
            <a:chOff x="446350" y="402893"/>
            <a:chExt cx="2744144" cy="203560"/>
          </a:xfrm>
        </p:grpSpPr>
        <p:cxnSp>
          <p:nvCxnSpPr>
            <p:cNvPr id="2076" name="Straight Connector 2075">
              <a:extLst>
                <a:ext uri="{FF2B5EF4-FFF2-40B4-BE49-F238E27FC236}">
                  <a16:creationId xmlns:a16="http://schemas.microsoft.com/office/drawing/2014/main" id="{00741CFD-7DEE-490C-8563-C8C4EF3060A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7" name="TextBox 2076">
              <a:extLst>
                <a:ext uri="{FF2B5EF4-FFF2-40B4-BE49-F238E27FC236}">
                  <a16:creationId xmlns:a16="http://schemas.microsoft.com/office/drawing/2014/main" id="{1875D8F5-C831-4AC7-AE09-4DA65EE1705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666184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9" name="Group 4">
            <a:extLst>
              <a:ext uri="{FF2B5EF4-FFF2-40B4-BE49-F238E27FC236}">
                <a16:creationId xmlns:a16="http://schemas.microsoft.com/office/drawing/2014/main" id="{715C9443-4192-447A-B327-8C64E8A86FA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6229" y="5920817"/>
            <a:ext cx="605979" cy="640512"/>
            <a:chOff x="1841" y="2"/>
            <a:chExt cx="4000" cy="4318"/>
          </a:xfrm>
          <a:solidFill>
            <a:schemeClr val="bg1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75322274-FED5-4C13-95D1-786315FB0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23A865D7-16EB-4A1C-9C6C-B2FB593CFD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</p:grp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80051E99-EE41-0A46-9C61-38F381221A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9" y="4048755"/>
            <a:ext cx="4636034" cy="332399"/>
          </a:xfrm>
        </p:spPr>
        <p:txBody>
          <a:bodyPr wrap="square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9" name="Text Placeholder 59">
            <a:extLst>
              <a:ext uri="{FF2B5EF4-FFF2-40B4-BE49-F238E27FC236}">
                <a16:creationId xmlns:a16="http://schemas.microsoft.com/office/drawing/2014/main" id="{E66144ED-BC45-4552-A1A9-6F161EFA6D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737" y="0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rgbClr val="1D428A">
              <a:alpha val="70000"/>
            </a:srgb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icture Placeholder 60">
            <a:extLst>
              <a:ext uri="{FF2B5EF4-FFF2-40B4-BE49-F238E27FC236}">
                <a16:creationId xmlns:a16="http://schemas.microsoft.com/office/drawing/2014/main" id="{C4232673-D2FC-4B01-8EB1-D36520428A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52262" y="0"/>
            <a:ext cx="4952263" cy="4915205"/>
          </a:xfrm>
          <a:custGeom>
            <a:avLst/>
            <a:gdLst>
              <a:gd name="connsiteX0" fmla="*/ 120279 w 5345111"/>
              <a:gd name="connsiteY0" fmla="*/ 0 h 5418103"/>
              <a:gd name="connsiteX1" fmla="*/ 5345111 w 5345111"/>
              <a:gd name="connsiteY1" fmla="*/ 0 h 5418103"/>
              <a:gd name="connsiteX2" fmla="*/ 5345111 w 5345111"/>
              <a:gd name="connsiteY2" fmla="*/ 5317812 h 5418103"/>
              <a:gd name="connsiteX3" fmla="*/ 5298768 w 5345111"/>
              <a:gd name="connsiteY3" fmla="*/ 5328508 h 5418103"/>
              <a:gd name="connsiteX4" fmla="*/ 4409999 w 5345111"/>
              <a:gd name="connsiteY4" fmla="*/ 5418103 h 5418103"/>
              <a:gd name="connsiteX5" fmla="*/ 0 w 5345111"/>
              <a:gd name="connsiteY5" fmla="*/ 1008103 h 5418103"/>
              <a:gd name="connsiteX6" fmla="*/ 89595 w 5345111"/>
              <a:gd name="connsiteY6" fmla="*/ 119334 h 541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5111" h="5418103">
                <a:moveTo>
                  <a:pt x="120279" y="0"/>
                </a:moveTo>
                <a:lnTo>
                  <a:pt x="5345111" y="0"/>
                </a:lnTo>
                <a:lnTo>
                  <a:pt x="5345111" y="5317812"/>
                </a:lnTo>
                <a:lnTo>
                  <a:pt x="5298768" y="5328508"/>
                </a:lnTo>
                <a:cubicBezTo>
                  <a:pt x="5011688" y="5387253"/>
                  <a:pt x="4714446" y="5418103"/>
                  <a:pt x="4409999" y="5418103"/>
                </a:cubicBezTo>
                <a:cubicBezTo>
                  <a:pt x="1974423" y="5418103"/>
                  <a:pt x="0" y="3443679"/>
                  <a:pt x="0" y="1008103"/>
                </a:cubicBezTo>
                <a:cubicBezTo>
                  <a:pt x="0" y="703656"/>
                  <a:pt x="30850" y="406415"/>
                  <a:pt x="89595" y="119334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3519262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101D73AD-4578-CC4F-92EC-94192A854D9D}"/>
              </a:ext>
            </a:extLst>
          </p:cNvPr>
          <p:cNvSpPr>
            <a:spLocks noGrp="1"/>
          </p:cNvSpPr>
          <p:nvPr>
            <p:ph type="tbl" sz="quarter" idx="27" hasCustomPrompt="1"/>
          </p:nvPr>
        </p:nvSpPr>
        <p:spPr>
          <a:xfrm>
            <a:off x="315913" y="1665288"/>
            <a:ext cx="7727950" cy="3714750"/>
          </a:xfrm>
        </p:spPr>
        <p:txBody>
          <a:bodyPr lIns="251999" tIns="251999"/>
          <a:lstStyle>
            <a:lvl1pPr marL="0" marR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Insert tab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C00ABE8F-B454-4BEA-AE36-12D0F4F7DF3D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8335014" y="2529906"/>
            <a:ext cx="1267457" cy="1241025"/>
          </a:xfrm>
          <a:prstGeom prst="ellipse">
            <a:avLst/>
          </a:prstGeom>
          <a:solidFill>
            <a:schemeClr val="accent5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219FFF39-F321-4405-B58C-4D099C881709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8489402" y="474654"/>
            <a:ext cx="1100686" cy="1077732"/>
          </a:xfrm>
          <a:prstGeom prst="ellipse">
            <a:avLst/>
          </a:prstGeom>
          <a:solidFill>
            <a:schemeClr val="accent2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39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657438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9268179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644290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9" y="1881187"/>
            <a:ext cx="447000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16998" y="1881187"/>
            <a:ext cx="447000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reeform 10">
            <a:extLst>
              <a:ext uri="{FF2B5EF4-FFF2-40B4-BE49-F238E27FC236}">
                <a16:creationId xmlns:a16="http://schemas.microsoft.com/office/drawing/2014/main" id="{32D960A5-D29A-6E45-9108-545E39421755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219125" y="2512575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20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B4BE04A-9C7A-0046-9763-BD3EC29C8549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</p:spTree>
    <p:extLst>
      <p:ext uri="{BB962C8B-B14F-4D97-AF65-F5344CB8AC3E}">
        <p14:creationId xmlns:p14="http://schemas.microsoft.com/office/powerpoint/2010/main" val="3963301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9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2438D5FC-2476-0A46-A2EB-2A98A4DD339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44024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610011F6-F675-6840-9708-401C204F3C1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180127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0ED1A813-F7A6-AE4B-9D82-F67B6FF7938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248178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16FF5066-E10B-1049-8991-D45A0FA1417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2076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4E4587C-B5BC-7048-ACB5-16EDADF34F32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D3D725F4-CA55-DE4D-B394-3680A91C83F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4D13661-50B5-CE46-AA16-05ACFEFA18B6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2F16BA9C-13E9-FC4C-BA2C-62CFD65892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295CE878-10FC-2045-AE94-9F26953049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1" name="Text Placeholder 2078">
            <a:extLst>
              <a:ext uri="{FF2B5EF4-FFF2-40B4-BE49-F238E27FC236}">
                <a16:creationId xmlns:a16="http://schemas.microsoft.com/office/drawing/2014/main" id="{0614C45B-2F80-0C4A-8F10-5D624FBA5C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226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078">
            <a:extLst>
              <a:ext uri="{FF2B5EF4-FFF2-40B4-BE49-F238E27FC236}">
                <a16:creationId xmlns:a16="http://schemas.microsoft.com/office/drawing/2014/main" id="{2D814A20-C287-2841-826E-7895C2EF66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8178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078">
            <a:extLst>
              <a:ext uri="{FF2B5EF4-FFF2-40B4-BE49-F238E27FC236}">
                <a16:creationId xmlns:a16="http://schemas.microsoft.com/office/drawing/2014/main" id="{54016AA5-18CE-D44E-8494-2388E4A536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80127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4" name="Text Placeholder 2078">
            <a:extLst>
              <a:ext uri="{FF2B5EF4-FFF2-40B4-BE49-F238E27FC236}">
                <a16:creationId xmlns:a16="http://schemas.microsoft.com/office/drawing/2014/main" id="{7A994EB6-518A-F84D-B6F2-64AB36DB22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2076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FF5C52BD-2D0D-214E-B443-CA6F2FEECB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44024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3" name="Freeform 10">
            <a:extLst>
              <a:ext uri="{FF2B5EF4-FFF2-40B4-BE49-F238E27FC236}">
                <a16:creationId xmlns:a16="http://schemas.microsoft.com/office/drawing/2014/main" id="{62A4535B-6596-7642-8BCA-75552100748B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219125" y="2512575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727E09D-49FA-6746-A4F4-CA8D4C0210D1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</p:spTree>
    <p:extLst>
      <p:ext uri="{BB962C8B-B14F-4D97-AF65-F5344CB8AC3E}">
        <p14:creationId xmlns:p14="http://schemas.microsoft.com/office/powerpoint/2010/main" val="274158948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drant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3728" y="2204886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itchFamily="2" charset="77"/>
              <a:ea typeface="+mn-ea"/>
              <a:cs typeface="+mn-cs"/>
            </a:endParaRP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05897" y="2204886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itchFamily="2" charset="77"/>
              <a:ea typeface="+mn-ea"/>
              <a:cs typeface="+mn-cs"/>
            </a:endParaRPr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9D3AB1E3-EA10-054C-8C2C-92684F91249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3728" y="4573671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itchFamily="2" charset="77"/>
              <a:ea typeface="+mn-ea"/>
              <a:cs typeface="+mn-cs"/>
            </a:endParaRP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D38735E6-D260-E843-84B1-FC8D0AAA15E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05897" y="4573671"/>
            <a:ext cx="4369903" cy="1683835"/>
          </a:xfrm>
          <a:solidFill>
            <a:schemeClr val="tx2"/>
          </a:solidFill>
        </p:spPr>
        <p:txBody>
          <a:bodyPr lIns="180000" tIns="18000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bg1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itchFamily="2" charset="77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9506CAA-FBC3-A846-A935-E67EB11A1A87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0C0CFB9-5250-D242-83F2-800BCA200003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69B7D62-DED3-E949-98FA-64401A534C39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2" name="Text Placeholder 2078">
            <a:extLst>
              <a:ext uri="{FF2B5EF4-FFF2-40B4-BE49-F238E27FC236}">
                <a16:creationId xmlns:a16="http://schemas.microsoft.com/office/drawing/2014/main" id="{A7E69B94-7D46-AC46-A7D3-15A9614B89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3" name="Text Placeholder 2078">
            <a:extLst>
              <a:ext uri="{FF2B5EF4-FFF2-40B4-BE49-F238E27FC236}">
                <a16:creationId xmlns:a16="http://schemas.microsoft.com/office/drawing/2014/main" id="{4E52C002-F52E-E640-A6FD-7CB803D9A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727" y="1832063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4" name="Text Placeholder 2078">
            <a:extLst>
              <a:ext uri="{FF2B5EF4-FFF2-40B4-BE49-F238E27FC236}">
                <a16:creationId xmlns:a16="http://schemas.microsoft.com/office/drawing/2014/main" id="{51644C1F-AB8A-8D48-B69F-07B294971C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03158" y="1832063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5" name="Text Placeholder 2078">
            <a:extLst>
              <a:ext uri="{FF2B5EF4-FFF2-40B4-BE49-F238E27FC236}">
                <a16:creationId xmlns:a16="http://schemas.microsoft.com/office/drawing/2014/main" id="{7DE89F7F-6C9F-3C40-A1CE-ED6CBB6067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727" y="4081079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9" name="Text Placeholder 2078">
            <a:extLst>
              <a:ext uri="{FF2B5EF4-FFF2-40B4-BE49-F238E27FC236}">
                <a16:creationId xmlns:a16="http://schemas.microsoft.com/office/drawing/2014/main" id="{AFCE5F62-8AE1-FD41-8676-DAF0A6415B3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03158" y="4081079"/>
            <a:ext cx="4470002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" name="Up Arrow 2">
            <a:extLst>
              <a:ext uri="{FF2B5EF4-FFF2-40B4-BE49-F238E27FC236}">
                <a16:creationId xmlns:a16="http://schemas.microsoft.com/office/drawing/2014/main" id="{1CA72085-6527-9F43-B8EE-4295758A8585}"/>
              </a:ext>
            </a:extLst>
          </p:cNvPr>
          <p:cNvSpPr/>
          <p:nvPr userDrawn="1"/>
        </p:nvSpPr>
        <p:spPr>
          <a:xfrm>
            <a:off x="127000" y="1663700"/>
            <a:ext cx="417827" cy="4947576"/>
          </a:xfrm>
          <a:prstGeom prst="upArrow">
            <a:avLst>
              <a:gd name="adj1" fmla="val 10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19" name="Up Arrow 18">
            <a:extLst>
              <a:ext uri="{FF2B5EF4-FFF2-40B4-BE49-F238E27FC236}">
                <a16:creationId xmlns:a16="http://schemas.microsoft.com/office/drawing/2014/main" id="{FD132814-4841-5342-8B42-323F9BC363A2}"/>
              </a:ext>
            </a:extLst>
          </p:cNvPr>
          <p:cNvSpPr/>
          <p:nvPr userDrawn="1"/>
        </p:nvSpPr>
        <p:spPr>
          <a:xfrm rot="5400000">
            <a:off x="4708057" y="1742965"/>
            <a:ext cx="417827" cy="9579944"/>
          </a:xfrm>
          <a:prstGeom prst="upArrow">
            <a:avLst>
              <a:gd name="adj1" fmla="val 10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5" name="Vertical Text Placeholder 4">
            <a:extLst>
              <a:ext uri="{FF2B5EF4-FFF2-40B4-BE49-F238E27FC236}">
                <a16:creationId xmlns:a16="http://schemas.microsoft.com/office/drawing/2014/main" id="{09839C99-AC38-A948-9319-142BA8ADF695}"/>
              </a:ext>
            </a:extLst>
          </p:cNvPr>
          <p:cNvSpPr>
            <a:spLocks noGrp="1"/>
          </p:cNvSpPr>
          <p:nvPr>
            <p:ph type="body" orient="vert" sz="quarter" idx="29" hasCustomPrompt="1"/>
          </p:nvPr>
        </p:nvSpPr>
        <p:spPr>
          <a:xfrm rot="10800000">
            <a:off x="126996" y="1832061"/>
            <a:ext cx="407299" cy="4491961"/>
          </a:xfrm>
        </p:spPr>
        <p:txBody>
          <a:bodyPr vert="eaVert" wrap="none" anchor="ctr"/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 AXIS</a:t>
            </a:r>
          </a:p>
        </p:txBody>
      </p:sp>
      <p:sp>
        <p:nvSpPr>
          <p:cNvPr id="20" name="Vertical Text Placeholder 4">
            <a:extLst>
              <a:ext uri="{FF2B5EF4-FFF2-40B4-BE49-F238E27FC236}">
                <a16:creationId xmlns:a16="http://schemas.microsoft.com/office/drawing/2014/main" id="{A1FA5855-7E00-CF48-923C-BA6B36C7F078}"/>
              </a:ext>
            </a:extLst>
          </p:cNvPr>
          <p:cNvSpPr>
            <a:spLocks noGrp="1"/>
          </p:cNvSpPr>
          <p:nvPr>
            <p:ph type="body" orient="vert" sz="quarter" idx="30" hasCustomPrompt="1"/>
          </p:nvPr>
        </p:nvSpPr>
        <p:spPr>
          <a:xfrm rot="16200000">
            <a:off x="2654099" y="4292221"/>
            <a:ext cx="407299" cy="4491961"/>
          </a:xfrm>
        </p:spPr>
        <p:txBody>
          <a:bodyPr vert="eaVert" wrap="none" anchor="ctr"/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 AXIS</a:t>
            </a:r>
          </a:p>
        </p:txBody>
      </p:sp>
    </p:spTree>
    <p:extLst>
      <p:ext uri="{BB962C8B-B14F-4D97-AF65-F5344CB8AC3E}">
        <p14:creationId xmlns:p14="http://schemas.microsoft.com/office/powerpoint/2010/main" val="19619479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2F1FE39-C0F2-944E-ADC2-E08B6382AD5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15913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b="1" i="0">
                <a:solidFill>
                  <a:schemeClr val="tx2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5ADD69CE-CBFA-5444-8A70-7943C1B52A3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6229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3DF629A4-22F2-EA41-92F6-73FA66B5165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676570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C5090FF1-EF84-9B47-90F0-02229480193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036911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3A66E65D-65F1-8A40-BBC0-9F7DF2B5833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7396938" y="4228015"/>
            <a:ext cx="2192795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010EADF1-D8D0-154F-9B7E-17D789EB038B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396938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75B559C-3FE4-814B-B5AA-D677CF7850F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036911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3F2AA6B3-A7A7-124A-84B4-677FC0B3096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676570" y="1665288"/>
            <a:ext cx="2192337" cy="2055812"/>
          </a:xfr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A20EE17-45E2-8446-A592-E551029C90E3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AB54021-4905-9A42-B3D3-944CCC9828B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4AB86FE-6B2D-DD4A-AF2F-58E5728CD481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2AEED0C2-9CC6-5D4B-9717-1C681D3BE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Text Placeholder 2078">
            <a:extLst>
              <a:ext uri="{FF2B5EF4-FFF2-40B4-BE49-F238E27FC236}">
                <a16:creationId xmlns:a16="http://schemas.microsoft.com/office/drawing/2014/main" id="{93D84F06-2FBC-D346-A435-1073A7BF93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4" name="Text Placeholder 2078">
            <a:extLst>
              <a:ext uri="{FF2B5EF4-FFF2-40B4-BE49-F238E27FC236}">
                <a16:creationId xmlns:a16="http://schemas.microsoft.com/office/drawing/2014/main" id="{3558769A-A1E1-2B4D-8C79-12A8F6302F2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6228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5" name="Text Placeholder 2078">
            <a:extLst>
              <a:ext uri="{FF2B5EF4-FFF2-40B4-BE49-F238E27FC236}">
                <a16:creationId xmlns:a16="http://schemas.microsoft.com/office/drawing/2014/main" id="{45755AA4-ACF2-D446-9F35-91AA2C9B8B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76570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6" name="Text Placeholder 2078">
            <a:extLst>
              <a:ext uri="{FF2B5EF4-FFF2-40B4-BE49-F238E27FC236}">
                <a16:creationId xmlns:a16="http://schemas.microsoft.com/office/drawing/2014/main" id="{E7E3D93F-55A1-B64A-A591-0C258302151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42341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7" name="Text Placeholder 2078">
            <a:extLst>
              <a:ext uri="{FF2B5EF4-FFF2-40B4-BE49-F238E27FC236}">
                <a16:creationId xmlns:a16="http://schemas.microsoft.com/office/drawing/2014/main" id="{1BB3028E-396B-CB41-98C5-57A4C7904CA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96938" y="3826299"/>
            <a:ext cx="2221490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48" name="Group 4">
            <a:extLst>
              <a:ext uri="{FF2B5EF4-FFF2-40B4-BE49-F238E27FC236}">
                <a16:creationId xmlns:a16="http://schemas.microsoft.com/office/drawing/2014/main" id="{DE9FE9F8-47B2-5A45-B2C5-83F01DA3667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96343" y="-655793"/>
            <a:ext cx="1041395" cy="1021289"/>
            <a:chOff x="2737" y="1746"/>
            <a:chExt cx="1266" cy="1268"/>
          </a:xfrm>
        </p:grpSpPr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A8C3DB40-E9AB-8642-85BC-886592AA72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5126A3EA-26C9-6748-960C-604E2B3C57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0077384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2F1FE39-C0F2-944E-ADC2-E08B6382AD50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31591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E310808-1FB9-204B-AC72-181E1E990AF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497335C-77E7-A946-8AF2-8EB91705A683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946F438-951E-954D-8F92-DA7781AEA12B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53DA8D1E-4A04-854A-B7E8-D1D778667F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Text Placeholder 2078">
            <a:extLst>
              <a:ext uri="{FF2B5EF4-FFF2-40B4-BE49-F238E27FC236}">
                <a16:creationId xmlns:a16="http://schemas.microsoft.com/office/drawing/2014/main" id="{8BBC4340-1C49-2A4F-8887-D59256CABB3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4" name="Text Placeholder 2078">
            <a:extLst>
              <a:ext uri="{FF2B5EF4-FFF2-40B4-BE49-F238E27FC236}">
                <a16:creationId xmlns:a16="http://schemas.microsoft.com/office/drawing/2014/main" id="{9B74630D-75AB-EE40-9F3B-C8C84F46C3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5913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48" name="Freeform 10">
            <a:extLst>
              <a:ext uri="{FF2B5EF4-FFF2-40B4-BE49-F238E27FC236}">
                <a16:creationId xmlns:a16="http://schemas.microsoft.com/office/drawing/2014/main" id="{D11DC51F-5733-A340-972E-6C9E17A6E79C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325110" y="2521037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6BADFFC1-F760-9C42-BD71-A8A9494E7E00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2953F83E-0985-7940-B2EF-FCFAB31AC7AD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190595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CDA7DA54-53AC-1F4F-AA1F-A8BDA51573E5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49599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B421FAFC-B8E1-2049-A671-A2ED042AE2A8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8603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17404F0B-E914-7E4B-9170-69EE6138A51C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667607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F7CCAAE7-C9BE-4146-8A26-E6F543DE436A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8266113" y="1665288"/>
            <a:ext cx="1384991" cy="1382712"/>
          </a:xfrm>
          <a:prstGeom prst="ellipse">
            <a:avLst/>
          </a:prstGeom>
          <a:solidFill>
            <a:schemeClr val="bg2">
              <a:alpha val="83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1" name="Content Placeholder 10">
            <a:extLst>
              <a:ext uri="{FF2B5EF4-FFF2-40B4-BE49-F238E27FC236}">
                <a16:creationId xmlns:a16="http://schemas.microsoft.com/office/drawing/2014/main" id="{6F1B0F70-DE4E-DE42-8E2A-E67F87C14E09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16229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50" name="Text Placeholder 2078">
            <a:extLst>
              <a:ext uri="{FF2B5EF4-FFF2-40B4-BE49-F238E27FC236}">
                <a16:creationId xmlns:a16="http://schemas.microsoft.com/office/drawing/2014/main" id="{30D4D6B8-8DC2-8446-B8D2-C95031524F6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90563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3" name="Content Placeholder 10">
            <a:extLst>
              <a:ext uri="{FF2B5EF4-FFF2-40B4-BE49-F238E27FC236}">
                <a16:creationId xmlns:a16="http://schemas.microsoft.com/office/drawing/2014/main" id="{49A7852B-03B6-CD45-90E2-7BD99E5D3B41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90595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64" name="Text Placeholder 2078">
            <a:extLst>
              <a:ext uri="{FF2B5EF4-FFF2-40B4-BE49-F238E27FC236}">
                <a16:creationId xmlns:a16="http://schemas.microsoft.com/office/drawing/2014/main" id="{66C69699-041A-1A40-B604-F4AC0413BA9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495045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5" name="Content Placeholder 10">
            <a:extLst>
              <a:ext uri="{FF2B5EF4-FFF2-40B4-BE49-F238E27FC236}">
                <a16:creationId xmlns:a16="http://schemas.microsoft.com/office/drawing/2014/main" id="{D1E1E153-C2A7-9545-B24E-0032D99AC7AC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3495361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66" name="Text Placeholder 2078">
            <a:extLst>
              <a:ext uri="{FF2B5EF4-FFF2-40B4-BE49-F238E27FC236}">
                <a16:creationId xmlns:a16="http://schemas.microsoft.com/office/drawing/2014/main" id="{E990D4A1-4AC4-D049-93BD-B47FC80445E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08644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7" name="Content Placeholder 10">
            <a:extLst>
              <a:ext uri="{FF2B5EF4-FFF2-40B4-BE49-F238E27FC236}">
                <a16:creationId xmlns:a16="http://schemas.microsoft.com/office/drawing/2014/main" id="{6A8152EF-39E2-6B49-BE1F-BD6DBF2EBE75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508676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68" name="Text Placeholder 2078">
            <a:extLst>
              <a:ext uri="{FF2B5EF4-FFF2-40B4-BE49-F238E27FC236}">
                <a16:creationId xmlns:a16="http://schemas.microsoft.com/office/drawing/2014/main" id="{A4855483-6B4B-CD4B-AE54-61EC0A52F41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70436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69" name="Content Placeholder 10">
            <a:extLst>
              <a:ext uri="{FF2B5EF4-FFF2-40B4-BE49-F238E27FC236}">
                <a16:creationId xmlns:a16="http://schemas.microsoft.com/office/drawing/2014/main" id="{1F0D77A5-89E9-4642-9976-6E61DDF8B167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670468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  <p:sp>
        <p:nvSpPr>
          <p:cNvPr id="72" name="Text Placeholder 2078">
            <a:extLst>
              <a:ext uri="{FF2B5EF4-FFF2-40B4-BE49-F238E27FC236}">
                <a16:creationId xmlns:a16="http://schemas.microsoft.com/office/drawing/2014/main" id="{85D8657D-8DD1-CB41-A38A-4124EAF727E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271487" y="3218407"/>
            <a:ext cx="1384991" cy="555176"/>
          </a:xfrm>
        </p:spPr>
        <p:txBody>
          <a:bodyPr wrap="square">
            <a:noAutofit/>
          </a:bodyPr>
          <a:lstStyle>
            <a:lvl1pPr algn="ctr"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73" name="Content Placeholder 10">
            <a:extLst>
              <a:ext uri="{FF2B5EF4-FFF2-40B4-BE49-F238E27FC236}">
                <a16:creationId xmlns:a16="http://schemas.microsoft.com/office/drawing/2014/main" id="{F4620F89-C7A7-E044-A243-65EABF42065B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8271803" y="3938053"/>
            <a:ext cx="1410971" cy="1683835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</p:txBody>
      </p:sp>
    </p:spTree>
    <p:extLst>
      <p:ext uri="{BB962C8B-B14F-4D97-AF65-F5344CB8AC3E}">
        <p14:creationId xmlns:p14="http://schemas.microsoft.com/office/powerpoint/2010/main" val="7881566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Numbered list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06775" y="1664815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/>
            </a:lvl3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A8D35E53-8730-2840-9093-D21C0FD4D7D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406775" y="3897343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D1F906FE-8A5B-C745-98DC-DD3BC7AD65E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406140" y="3153167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F0FA536A-9BCB-5243-9581-63768F29E1C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406140" y="2408991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94FE56D-032E-354E-8CEE-FAD258BB47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B41A0F9-EE06-5B40-9674-00605E7B98FA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FAB8945-4A0D-9F40-84F9-3657DF0E6342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E3BB5E3-98C4-BA40-921A-0F5BAB0354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A273AC8-CAE4-5B46-B00B-45443A855A6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37062" y="1701141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FAC9F5D1-D668-2B46-9B0E-67CE1321A31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3406775" y="4641519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09A7F05B-F4B9-694A-BC3D-CB76E461F9C7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406775" y="5385696"/>
            <a:ext cx="6182996" cy="6323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2</a:t>
            </a:r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E8CC56C2-1B3A-4A44-873B-298E419D08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3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6" name="Text Placeholder 2078">
            <a:extLst>
              <a:ext uri="{FF2B5EF4-FFF2-40B4-BE49-F238E27FC236}">
                <a16:creationId xmlns:a16="http://schemas.microsoft.com/office/drawing/2014/main" id="{7D2E40C3-E27E-5A41-8747-DADA3C2D45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7338" y="1679779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37" name="Text Placeholder 2078">
            <a:extLst>
              <a:ext uri="{FF2B5EF4-FFF2-40B4-BE49-F238E27FC236}">
                <a16:creationId xmlns:a16="http://schemas.microsoft.com/office/drawing/2014/main" id="{2EAFBFAD-7981-144F-9287-1EDE74B7F77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07338" y="2429792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38" name="Text Placeholder 2078">
            <a:extLst>
              <a:ext uri="{FF2B5EF4-FFF2-40B4-BE49-F238E27FC236}">
                <a16:creationId xmlns:a16="http://schemas.microsoft.com/office/drawing/2014/main" id="{FA56055B-7E4C-0B47-8086-EF94AFBB106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07338" y="3148983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64D52B9C-667D-1544-A05E-BD648474A19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07338" y="3909271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40" name="Text Placeholder 2078">
            <a:extLst>
              <a:ext uri="{FF2B5EF4-FFF2-40B4-BE49-F238E27FC236}">
                <a16:creationId xmlns:a16="http://schemas.microsoft.com/office/drawing/2014/main" id="{B4019D6B-AF09-344B-9025-4356FB7CD5E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7338" y="4638736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41" name="Text Placeholder 2078">
            <a:extLst>
              <a:ext uri="{FF2B5EF4-FFF2-40B4-BE49-F238E27FC236}">
                <a16:creationId xmlns:a16="http://schemas.microsoft.com/office/drawing/2014/main" id="{627422E6-5823-7341-AB7E-8B4B6FE1810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07338" y="5368201"/>
            <a:ext cx="2093062" cy="638179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can be inserted here</a:t>
            </a:r>
          </a:p>
        </p:txBody>
      </p:sp>
      <p:sp>
        <p:nvSpPr>
          <p:cNvPr id="42" name="Freeform 10">
            <a:extLst>
              <a:ext uri="{FF2B5EF4-FFF2-40B4-BE49-F238E27FC236}">
                <a16:creationId xmlns:a16="http://schemas.microsoft.com/office/drawing/2014/main" id="{A5594841-0967-6D49-8FBD-E6AD5723A7EA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219125" y="2512575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56EB975E-174A-5047-AB80-3400C8E75F5C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sp>
        <p:nvSpPr>
          <p:cNvPr id="32" name="Content Placeholder 13">
            <a:extLst>
              <a:ext uri="{FF2B5EF4-FFF2-40B4-BE49-F238E27FC236}">
                <a16:creationId xmlns:a16="http://schemas.microsoft.com/office/drawing/2014/main" id="{7102FF32-FD18-1041-9619-B16F5287DE7C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337062" y="5426780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4" name="Content Placeholder 13">
            <a:extLst>
              <a:ext uri="{FF2B5EF4-FFF2-40B4-BE49-F238E27FC236}">
                <a16:creationId xmlns:a16="http://schemas.microsoft.com/office/drawing/2014/main" id="{6361216E-7F34-DD4F-93ED-B93A45C54DC7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37062" y="4681653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5" name="Content Placeholder 13">
            <a:extLst>
              <a:ext uri="{FF2B5EF4-FFF2-40B4-BE49-F238E27FC236}">
                <a16:creationId xmlns:a16="http://schemas.microsoft.com/office/drawing/2014/main" id="{6DF825F2-14D1-9145-B917-D33E67E9554D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337062" y="3936525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6" name="Content Placeholder 13">
            <a:extLst>
              <a:ext uri="{FF2B5EF4-FFF2-40B4-BE49-F238E27FC236}">
                <a16:creationId xmlns:a16="http://schemas.microsoft.com/office/drawing/2014/main" id="{16EFB2F5-56A2-D140-90A2-E1B78636312B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7062" y="3191397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7" name="Content Placeholder 13">
            <a:extLst>
              <a:ext uri="{FF2B5EF4-FFF2-40B4-BE49-F238E27FC236}">
                <a16:creationId xmlns:a16="http://schemas.microsoft.com/office/drawing/2014/main" id="{17E76658-AD45-964E-BAFD-A5666259F6EA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337062" y="2446269"/>
            <a:ext cx="454512" cy="454512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35231477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92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101D73AD-4578-CC4F-92EC-94192A854D9D}"/>
              </a:ext>
            </a:extLst>
          </p:cNvPr>
          <p:cNvSpPr>
            <a:spLocks noGrp="1"/>
          </p:cNvSpPr>
          <p:nvPr>
            <p:ph type="tbl" sz="quarter" idx="27" hasCustomPrompt="1"/>
          </p:nvPr>
        </p:nvSpPr>
        <p:spPr>
          <a:xfrm>
            <a:off x="315913" y="1665288"/>
            <a:ext cx="7727950" cy="3714750"/>
          </a:xfrm>
        </p:spPr>
        <p:txBody>
          <a:bodyPr lIns="251999" tIns="251999"/>
          <a:lstStyle>
            <a:lvl1pPr marL="0" marR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Insert tab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4637507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slide</a:t>
            </a:r>
            <a:endParaRPr lang="en-AU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1B53B98-E187-4FDB-80F2-CA056424143C}"/>
              </a:ext>
            </a:extLst>
          </p:cNvPr>
          <p:cNvSpPr/>
          <p:nvPr userDrawn="1"/>
        </p:nvSpPr>
        <p:spPr>
          <a:xfrm>
            <a:off x="8306974" y="3202894"/>
            <a:ext cx="2573211" cy="2519549"/>
          </a:xfrm>
          <a:prstGeom prst="ellipse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800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C00ABE8F-B454-4BEA-AE36-12D0F4F7DF3D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8335014" y="2529906"/>
            <a:ext cx="1267457" cy="1241025"/>
          </a:xfrm>
          <a:prstGeom prst="ellipse">
            <a:avLst/>
          </a:prstGeom>
          <a:solidFill>
            <a:schemeClr val="accent5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219FFF39-F321-4405-B58C-4D099C881709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8489402" y="474654"/>
            <a:ext cx="1100686" cy="1077732"/>
          </a:xfrm>
          <a:prstGeom prst="ellipse">
            <a:avLst/>
          </a:prstGeom>
          <a:solidFill>
            <a:schemeClr val="accent2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7346632-EFE4-F840-8F92-83FA6363A404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C913C52-0751-BC4D-A716-67C521725C4C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385F729-539D-F848-B304-C18B0623A65C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575F8AF-3C65-B24C-BA79-2805A2B91CD8}"/>
              </a:ext>
            </a:extLst>
          </p:cNvPr>
          <p:cNvGrpSpPr/>
          <p:nvPr userDrawn="1"/>
        </p:nvGrpSpPr>
        <p:grpSpPr>
          <a:xfrm>
            <a:off x="10592551" y="1505277"/>
            <a:ext cx="2704347" cy="1219702"/>
            <a:chOff x="6811349" y="1552689"/>
            <a:chExt cx="1910979" cy="112612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9027085-3DC4-9543-A749-1E68ED0DC7B4}"/>
                </a:ext>
              </a:extLst>
            </p:cNvPr>
            <p:cNvSpPr/>
            <p:nvPr/>
          </p:nvSpPr>
          <p:spPr>
            <a:xfrm>
              <a:off x="6948010" y="1862571"/>
              <a:ext cx="1774318" cy="816244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For less agenda items, select the columns you want to remove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and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right-click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&gt;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Delete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&gt;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Delete Columns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.</a:t>
              </a:r>
            </a:p>
          </p:txBody>
        </p:sp>
        <p:sp>
          <p:nvSpPr>
            <p:cNvPr id="23" name="Triangle 22">
              <a:extLst>
                <a:ext uri="{FF2B5EF4-FFF2-40B4-BE49-F238E27FC236}">
                  <a16:creationId xmlns:a16="http://schemas.microsoft.com/office/drawing/2014/main" id="{B45D1AC5-DE34-EC4A-9595-1783AD701735}"/>
                </a:ext>
              </a:extLst>
            </p:cNvPr>
            <p:cNvSpPr/>
            <p:nvPr/>
          </p:nvSpPr>
          <p:spPr>
            <a:xfrm rot="16200000" flipH="1">
              <a:off x="6714103" y="2015828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8487927-C11D-5048-B2F3-1D53B60AA94B}"/>
                </a:ext>
              </a:extLst>
            </p:cNvPr>
            <p:cNvSpPr/>
            <p:nvPr/>
          </p:nvSpPr>
          <p:spPr>
            <a:xfrm>
              <a:off x="6955407" y="1552689"/>
              <a:ext cx="1766921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marL="0" lvl="0" algn="l" defTabSz="457173" rtl="0" eaLnBrk="1" latinLnBrk="0" hangingPunct="1"/>
              <a:r>
                <a:rPr lang="en-US" sz="1600" kern="12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LESS AGENDA ITEM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53DE749-A77F-3B43-97C5-173AE5F71D7A}"/>
              </a:ext>
            </a:extLst>
          </p:cNvPr>
          <p:cNvGrpSpPr/>
          <p:nvPr userDrawn="1"/>
        </p:nvGrpSpPr>
        <p:grpSpPr>
          <a:xfrm>
            <a:off x="10592551" y="14497"/>
            <a:ext cx="2704348" cy="1235069"/>
            <a:chOff x="6811349" y="1211547"/>
            <a:chExt cx="1910979" cy="20921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FD62F13-9A35-B64B-82A2-96C7CACAA7D5}"/>
                </a:ext>
              </a:extLst>
            </p:cNvPr>
            <p:cNvSpPr/>
            <p:nvPr/>
          </p:nvSpPr>
          <p:spPr>
            <a:xfrm>
              <a:off x="6948010" y="1806120"/>
              <a:ext cx="1774318" cy="1497566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add in an Agenda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Slide, copy </a:t>
              </a:r>
              <a:r>
                <a:rPr lang="en-US" sz="1200" b="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(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Ctrl + C</a:t>
              </a:r>
              <a:r>
                <a:rPr lang="en-US" sz="1200" b="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)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 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slide 8 of the Slide Library and paste </a:t>
              </a:r>
              <a:b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</a:b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(</a:t>
              </a:r>
              <a:r>
                <a:rPr lang="en-US" sz="1200" b="1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Ctrl + V</a:t>
              </a:r>
              <a:r>
                <a:rPr lang="en-US" sz="1200" i="1" baseline="0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) into this layout.</a:t>
              </a:r>
              <a:endParaRPr lang="en-US" sz="1200" i="1" dirty="0">
                <a:solidFill>
                  <a:schemeClr val="tx1">
                    <a:lumMod val="50000"/>
                  </a:schemeClr>
                </a:solidFill>
                <a:ea typeface="Roboto" charset="0"/>
                <a:cs typeface="Roboto" charset="0"/>
              </a:endParaRPr>
            </a:p>
          </p:txBody>
        </p:sp>
        <p:sp>
          <p:nvSpPr>
            <p:cNvPr id="27" name="Triangle 26">
              <a:extLst>
                <a:ext uri="{FF2B5EF4-FFF2-40B4-BE49-F238E27FC236}">
                  <a16:creationId xmlns:a16="http://schemas.microsoft.com/office/drawing/2014/main" id="{6AE8C550-F1F1-AD43-B68A-6F79621C4876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C3383DD-8A4B-5641-A472-A2882BD927AE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AGENDA</a:t>
              </a: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6F608F73-741F-6946-B641-D8427799D9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EEF63556-136D-FA42-BB5B-3B1E035D1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DDD716A6-8BCF-6848-84E2-A6A085F33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39" name="Footer Placeholder 3">
            <a:extLst>
              <a:ext uri="{FF2B5EF4-FFF2-40B4-BE49-F238E27FC236}">
                <a16:creationId xmlns:a16="http://schemas.microsoft.com/office/drawing/2014/main" id="{451CE90D-C2B7-A145-B742-F4069E29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078">
            <a:extLst>
              <a:ext uri="{FF2B5EF4-FFF2-40B4-BE49-F238E27FC236}">
                <a16:creationId xmlns:a16="http://schemas.microsoft.com/office/drawing/2014/main" id="{6CEE090E-CCFD-D641-BC04-E336F151C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8" y="1175566"/>
            <a:ext cx="4636034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E5F7DBC-A938-444E-B3B9-64102D924528}"/>
              </a:ext>
            </a:extLst>
          </p:cNvPr>
          <p:cNvGrpSpPr/>
          <p:nvPr userDrawn="1"/>
        </p:nvGrpSpPr>
        <p:grpSpPr>
          <a:xfrm>
            <a:off x="-3911599" y="1467178"/>
            <a:ext cx="3215996" cy="1219703"/>
            <a:chOff x="6948010" y="1552689"/>
            <a:chExt cx="1910979" cy="112612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4AA803C-5707-A842-9610-37374F393AC2}"/>
                </a:ext>
              </a:extLst>
            </p:cNvPr>
            <p:cNvSpPr/>
            <p:nvPr/>
          </p:nvSpPr>
          <p:spPr>
            <a:xfrm>
              <a:off x="6948010" y="1862572"/>
              <a:ext cx="1774318" cy="816243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colour an agenda item, highlight the item you wish to change colour and select the colour from the text colour option. </a:t>
              </a:r>
            </a:p>
          </p:txBody>
        </p:sp>
        <p:sp>
          <p:nvSpPr>
            <p:cNvPr id="40" name="Triangle 39">
              <a:extLst>
                <a:ext uri="{FF2B5EF4-FFF2-40B4-BE49-F238E27FC236}">
                  <a16:creationId xmlns:a16="http://schemas.microsoft.com/office/drawing/2014/main" id="{04237EA0-0ABD-9E4B-9614-35B23FA4CD43}"/>
                </a:ext>
              </a:extLst>
            </p:cNvPr>
            <p:cNvSpPr/>
            <p:nvPr/>
          </p:nvSpPr>
          <p:spPr>
            <a:xfrm rot="5400000" flipH="1">
              <a:off x="8620038" y="2031743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E6C5883-F18B-6548-8F2C-0E2A6D500AF8}"/>
                </a:ext>
              </a:extLst>
            </p:cNvPr>
            <p:cNvSpPr/>
            <p:nvPr/>
          </p:nvSpPr>
          <p:spPr>
            <a:xfrm>
              <a:off x="6955407" y="1552689"/>
              <a:ext cx="1766921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marL="0" lvl="0" algn="l" defTabSz="457173" rtl="0" eaLnBrk="1" latinLnBrk="0" hangingPunct="1"/>
              <a:r>
                <a:rPr lang="en-US" sz="1600" kern="12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COLOUR AGENDA ITEMS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91641B94-DB6B-9A41-A538-0C79DB74A1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38891" y="2764783"/>
            <a:ext cx="4813300" cy="1193800"/>
          </a:xfrm>
          <a:prstGeom prst="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92961E06-06B5-5C43-A241-D95CE9D62597}"/>
              </a:ext>
            </a:extLst>
          </p:cNvPr>
          <p:cNvSpPr/>
          <p:nvPr userDrawn="1"/>
        </p:nvSpPr>
        <p:spPr>
          <a:xfrm>
            <a:off x="-1595135" y="3150418"/>
            <a:ext cx="470484" cy="47048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668150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Proces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>
            <a:extLst>
              <a:ext uri="{FF2B5EF4-FFF2-40B4-BE49-F238E27FC236}">
                <a16:creationId xmlns:a16="http://schemas.microsoft.com/office/drawing/2014/main" id="{75D66A8D-93D6-AF47-9FFE-36DBA25EB5EC}"/>
              </a:ext>
            </a:extLst>
          </p:cNvPr>
          <p:cNvSpPr/>
          <p:nvPr userDrawn="1"/>
        </p:nvSpPr>
        <p:spPr>
          <a:xfrm>
            <a:off x="0" y="-1"/>
            <a:ext cx="9906000" cy="13763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rocess – 4 column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C31DF8B-B157-C344-BE7D-06790EF6222A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5E0D1CE9-2CB2-D84C-A644-7CCDC5D6DA7A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2176169-4375-F844-A05A-EEB993BB98B6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F3BC40B1-2C38-3F46-9D1D-F2649BA3AD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88F5D05B-08C5-5342-AB74-1E4776CD8EC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23292B4-B5C6-A84C-B01D-7673102C40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FBF0BE8-4E96-714D-8E6F-CFCDF4780F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A43CF74-4B37-9647-B875-50AE18F9D2F0}"/>
              </a:ext>
            </a:extLst>
          </p:cNvPr>
          <p:cNvSpPr txBox="1">
            <a:spLocks/>
          </p:cNvSpPr>
          <p:nvPr userDrawn="1"/>
        </p:nvSpPr>
        <p:spPr>
          <a:xfrm>
            <a:off x="2515949" y="1443848"/>
            <a:ext cx="2527496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AA34491-C980-8A43-8A88-0610183CA0F5}"/>
              </a:ext>
            </a:extLst>
          </p:cNvPr>
          <p:cNvSpPr txBox="1">
            <a:spLocks/>
          </p:cNvSpPr>
          <p:nvPr userDrawn="1"/>
        </p:nvSpPr>
        <p:spPr>
          <a:xfrm>
            <a:off x="4696000" y="1443848"/>
            <a:ext cx="2531877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9CB9392-8663-D04B-9F3A-96317563DBC3}"/>
              </a:ext>
            </a:extLst>
          </p:cNvPr>
          <p:cNvSpPr txBox="1">
            <a:spLocks/>
          </p:cNvSpPr>
          <p:nvPr userDrawn="1"/>
        </p:nvSpPr>
        <p:spPr>
          <a:xfrm>
            <a:off x="6880432" y="1443848"/>
            <a:ext cx="2547166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5FCFB3DE-8C63-BF47-BBAE-C81AFCF5908E}"/>
              </a:ext>
            </a:extLst>
          </p:cNvPr>
          <p:cNvSpPr txBox="1">
            <a:spLocks/>
          </p:cNvSpPr>
          <p:nvPr userDrawn="1"/>
        </p:nvSpPr>
        <p:spPr>
          <a:xfrm>
            <a:off x="2515949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86FFD955-0F26-184F-874D-8A062D4F7038}"/>
              </a:ext>
            </a:extLst>
          </p:cNvPr>
          <p:cNvSpPr txBox="1">
            <a:spLocks/>
          </p:cNvSpPr>
          <p:nvPr userDrawn="1"/>
        </p:nvSpPr>
        <p:spPr>
          <a:xfrm>
            <a:off x="4696000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38" name="Content Placeholder 3">
            <a:extLst>
              <a:ext uri="{FF2B5EF4-FFF2-40B4-BE49-F238E27FC236}">
                <a16:creationId xmlns:a16="http://schemas.microsoft.com/office/drawing/2014/main" id="{79B8D577-A2C5-2E4D-BDC4-F62FB4FC82D3}"/>
              </a:ext>
            </a:extLst>
          </p:cNvPr>
          <p:cNvSpPr txBox="1">
            <a:spLocks/>
          </p:cNvSpPr>
          <p:nvPr userDrawn="1"/>
        </p:nvSpPr>
        <p:spPr>
          <a:xfrm>
            <a:off x="6880432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CD64D8B-D57C-1947-B2FB-09365841F90A}"/>
              </a:ext>
            </a:extLst>
          </p:cNvPr>
          <p:cNvSpPr txBox="1">
            <a:spLocks/>
          </p:cNvSpPr>
          <p:nvPr userDrawn="1"/>
        </p:nvSpPr>
        <p:spPr>
          <a:xfrm>
            <a:off x="316228" y="1443848"/>
            <a:ext cx="2547166" cy="841678"/>
          </a:xfrm>
          <a:prstGeom prst="chevron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indent="-143996" algn="l" defTabSz="91437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title here</a:t>
            </a:r>
          </a:p>
        </p:txBody>
      </p:sp>
      <p:sp>
        <p:nvSpPr>
          <p:cNvPr id="40" name="Content Placeholder 3">
            <a:extLst>
              <a:ext uri="{FF2B5EF4-FFF2-40B4-BE49-F238E27FC236}">
                <a16:creationId xmlns:a16="http://schemas.microsoft.com/office/drawing/2014/main" id="{F61DC305-594D-A443-9BFE-B851A518196B}"/>
              </a:ext>
            </a:extLst>
          </p:cNvPr>
          <p:cNvSpPr txBox="1">
            <a:spLocks/>
          </p:cNvSpPr>
          <p:nvPr userDrawn="1"/>
        </p:nvSpPr>
        <p:spPr>
          <a:xfrm>
            <a:off x="316228" y="2285526"/>
            <a:ext cx="2119732" cy="3626295"/>
          </a:xfrm>
          <a:prstGeom prst="wedgeRectCallout">
            <a:avLst>
              <a:gd name="adj1" fmla="val -5132"/>
              <a:gd name="adj2" fmla="val -17530"/>
            </a:avLst>
          </a:prstGeom>
          <a:solidFill>
            <a:schemeClr val="bg1"/>
          </a:solidFill>
        </p:spPr>
        <p:txBody>
          <a:bodyPr vert="horz" lIns="251999" tIns="251999" rIns="251999" bIns="0" rtlCol="0"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 sz="1200" kern="1200">
                <a:solidFill>
                  <a:schemeClr val="tx2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575984" indent="-143996" algn="l" defTabSz="9143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528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5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2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9" indent="-228593" algn="l" defTabSz="91437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</p:spTree>
    <p:extLst>
      <p:ext uri="{BB962C8B-B14F-4D97-AF65-F5344CB8AC3E}">
        <p14:creationId xmlns:p14="http://schemas.microsoft.com/office/powerpoint/2010/main" val="29586631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ly Pull Out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B9EC0E2A-5102-FA40-B686-383A1B48885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487473" y="3133342"/>
            <a:ext cx="2920218" cy="2676592"/>
          </a:xfrm>
          <a:prstGeom prst="wedgeRectCallout">
            <a:avLst/>
          </a:prstGeom>
          <a:solidFill>
            <a:schemeClr val="bg1"/>
          </a:solidFill>
        </p:spPr>
        <p:txBody>
          <a:bodyPr lIns="360000" tIns="360000" rIns="360000" bIns="360000" anchor="ctr" anchorCtr="1">
            <a:noAutofit/>
          </a:bodyPr>
          <a:lstStyle>
            <a:lvl1pPr algn="ctr">
              <a:defRPr sz="2000" b="1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a </a:t>
            </a:r>
            <a:br>
              <a:rPr lang="en-US" dirty="0"/>
            </a:br>
            <a:r>
              <a:rPr lang="en-US" dirty="0"/>
              <a:t>pull out quot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1C2B2B03-CEEA-874D-A750-6FF403EA5D7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58718" y="1881188"/>
            <a:ext cx="2920218" cy="2676592"/>
          </a:xfrm>
          <a:prstGeom prst="wedgeRectCallout">
            <a:avLst/>
          </a:prstGeom>
          <a:solidFill>
            <a:schemeClr val="bg1"/>
          </a:solidFill>
        </p:spPr>
        <p:txBody>
          <a:bodyPr lIns="360000" tIns="360000" rIns="360000" bIns="360000" anchor="ctr" anchorCtr="1">
            <a:noAutofit/>
          </a:bodyPr>
          <a:lstStyle>
            <a:lvl1pPr marL="0" marR="0" indent="0" algn="ctr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a </a:t>
            </a:r>
            <a:br>
              <a:rPr lang="en-US" dirty="0"/>
            </a:br>
            <a:r>
              <a:rPr lang="en-US" dirty="0"/>
              <a:t>pull out quot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8" y="2232494"/>
            <a:ext cx="2920218" cy="2676592"/>
          </a:xfrm>
          <a:prstGeom prst="wedgeRectCallout">
            <a:avLst/>
          </a:prstGeom>
          <a:solidFill>
            <a:schemeClr val="bg1"/>
          </a:solidFill>
        </p:spPr>
        <p:txBody>
          <a:bodyPr lIns="360000" tIns="360000" rIns="360000" bIns="360000" anchor="ctr" anchorCtr="1">
            <a:noAutofit/>
          </a:bodyPr>
          <a:lstStyle>
            <a:lvl1pPr algn="ctr">
              <a:defRPr sz="2000" b="1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a </a:t>
            </a:r>
            <a:br>
              <a:rPr lang="en-US" dirty="0"/>
            </a:br>
            <a:r>
              <a:rPr lang="en-US" dirty="0"/>
              <a:t>pull out quote</a:t>
            </a:r>
          </a:p>
        </p:txBody>
      </p: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D2C31501-0430-3C4C-BCDF-02858EDB89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267B948-0C8C-C34E-9539-DA705E0C3B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9273546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Quote slid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FDBC2A4-1DB4-3540-9D5A-4346507D58F7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B3EC247D-2EC7-9E42-883C-EF046AB6BACA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212102C-AC82-604A-9FB1-E27A1360EF3B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46" name="Text Placeholder 2078">
            <a:extLst>
              <a:ext uri="{FF2B5EF4-FFF2-40B4-BE49-F238E27FC236}">
                <a16:creationId xmlns:a16="http://schemas.microsoft.com/office/drawing/2014/main" id="{1D5702CF-0BB8-3E41-9985-B251C879B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36762200-99B6-C34E-B5FF-C0CFFBCD7AD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56803" y="5339202"/>
            <a:ext cx="683173" cy="669983"/>
            <a:chOff x="2737" y="1746"/>
            <a:chExt cx="1266" cy="1268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36C20F6-EC7E-064A-8E0D-11976B391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321CF9B5-E746-A240-8BB3-D19DE85146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18" name="Group 4">
            <a:extLst>
              <a:ext uri="{FF2B5EF4-FFF2-40B4-BE49-F238E27FC236}">
                <a16:creationId xmlns:a16="http://schemas.microsoft.com/office/drawing/2014/main" id="{5D266DD8-D7F2-9F43-8E7A-F3EEC70D990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34603" y="-350398"/>
            <a:ext cx="683173" cy="669983"/>
            <a:chOff x="2737" y="1746"/>
            <a:chExt cx="1266" cy="1268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3ABE757F-F34D-3C4E-88E0-544321974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F5AC-A753-F24E-A32F-9052B6A818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1" name="Group 4">
            <a:extLst>
              <a:ext uri="{FF2B5EF4-FFF2-40B4-BE49-F238E27FC236}">
                <a16:creationId xmlns:a16="http://schemas.microsoft.com/office/drawing/2014/main" id="{0168AE41-93F3-A34E-8581-5CEC02DFC3E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5B5E2938-72CF-8048-9ACA-CF33E1E847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9063535-FC63-B542-8A1F-DEE862650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399142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rt slide</a:t>
            </a:r>
            <a:endParaRPr lang="en-AU" dirty="0"/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D33AC7D5-E738-AD4B-95D6-9C3FCF65F1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16383" y="1665288"/>
            <a:ext cx="6183313" cy="4246562"/>
          </a:xfrm>
          <a:noFill/>
        </p:spPr>
        <p:txBody>
          <a:bodyPr lIns="360000" tIns="360000"/>
          <a:lstStyle/>
          <a:p>
            <a:r>
              <a:rPr lang="en-US" dirty="0"/>
              <a:t>Insert chart here</a:t>
            </a:r>
          </a:p>
        </p:txBody>
      </p:sp>
      <p:sp>
        <p:nvSpPr>
          <p:cNvPr id="20" name="Content Placeholder 12">
            <a:extLst>
              <a:ext uri="{FF2B5EF4-FFF2-40B4-BE49-F238E27FC236}">
                <a16:creationId xmlns:a16="http://schemas.microsoft.com/office/drawing/2014/main" id="{0129E124-9A9B-2640-9E5D-9644494EE57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97639" y="2898775"/>
            <a:ext cx="3092136" cy="231000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C226E9-6956-C54B-A69A-4904D6C5664C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C4BC6BD-7AC6-C047-B078-4628DC017F8D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31A805F-FEDE-694C-B2EB-887E6393608E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6D7D6688-1806-1340-B1CE-CFB54359F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37D245E4-5D86-7C4C-9539-06BB517A324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302465" y="6347355"/>
            <a:ext cx="1041395" cy="1021289"/>
            <a:chOff x="2737" y="1746"/>
            <a:chExt cx="1266" cy="1268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00FDE27-CD63-AE42-8F14-91BF5D7F9D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60963C-AF70-9C41-A8AF-D3ED173E5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19" name="Group 4">
            <a:extLst>
              <a:ext uri="{FF2B5EF4-FFF2-40B4-BE49-F238E27FC236}">
                <a16:creationId xmlns:a16="http://schemas.microsoft.com/office/drawing/2014/main" id="{2B3B7E8A-9ABD-1941-B552-068650948E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543011" y="-578855"/>
            <a:ext cx="1041395" cy="1021289"/>
            <a:chOff x="2737" y="1746"/>
            <a:chExt cx="1266" cy="126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D4A8884-C56E-504B-BCB0-93EB471988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82EBF3E-8B24-BB45-9F2C-BF81FBB55A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4397B933-E56C-8C48-AD79-F9AD12EC19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343860" y="6124071"/>
            <a:ext cx="313313" cy="307264"/>
            <a:chOff x="2737" y="1746"/>
            <a:chExt cx="1266" cy="126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808759-8D98-1A4C-9761-9C1A6BBDBD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A9B84BA-D82C-9945-91EB-222FB060FF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1015AC6-7168-CA46-B73E-FDA517F06A42}"/>
              </a:ext>
            </a:extLst>
          </p:cNvPr>
          <p:cNvGrpSpPr/>
          <p:nvPr userDrawn="1"/>
        </p:nvGrpSpPr>
        <p:grpSpPr>
          <a:xfrm>
            <a:off x="-3771201" y="3284346"/>
            <a:ext cx="3292605" cy="2189354"/>
            <a:chOff x="6940574" y="1572373"/>
            <a:chExt cx="1908625" cy="108243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A1E3D4E-4944-FA49-99A8-78C8EF0E5D71}"/>
                </a:ext>
              </a:extLst>
            </p:cNvPr>
            <p:cNvSpPr/>
            <p:nvPr/>
          </p:nvSpPr>
          <p:spPr>
            <a:xfrm>
              <a:off x="6940574" y="1759471"/>
              <a:ext cx="1774322" cy="895336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</a:rPr>
                <a:t>To have more control of the labels with the charts you can insert them manually. Go to insert &gt; text box and place the text where you see fit. Example shown is within the bar. </a:t>
              </a:r>
            </a:p>
          </p:txBody>
        </p:sp>
        <p:sp>
          <p:nvSpPr>
            <p:cNvPr id="28" name="Triangle 27">
              <a:extLst>
                <a:ext uri="{FF2B5EF4-FFF2-40B4-BE49-F238E27FC236}">
                  <a16:creationId xmlns:a16="http://schemas.microsoft.com/office/drawing/2014/main" id="{5D1A455A-8376-0B41-8A26-8C7C68164866}"/>
                </a:ext>
              </a:extLst>
            </p:cNvPr>
            <p:cNvSpPr/>
            <p:nvPr/>
          </p:nvSpPr>
          <p:spPr>
            <a:xfrm rot="5400000">
              <a:off x="8610248" y="2049165"/>
              <a:ext cx="336197" cy="141705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6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6A7529E-9368-3D42-970A-F76BE4472B75}"/>
                </a:ext>
              </a:extLst>
            </p:cNvPr>
            <p:cNvSpPr/>
            <p:nvPr/>
          </p:nvSpPr>
          <p:spPr>
            <a:xfrm>
              <a:off x="6940574" y="1572373"/>
              <a:ext cx="1766920" cy="365892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</a:t>
              </a:r>
              <a:r>
                <a:rPr lang="en-US" sz="1600" baseline="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 MANUAL LABELLING</a:t>
              </a:r>
              <a:endParaRPr lang="en-US" sz="1600" dirty="0">
                <a:solidFill>
                  <a:schemeClr val="tx1">
                    <a:lumMod val="50000"/>
                  </a:schemeClr>
                </a:solidFill>
                <a:latin typeface="Oswald Medium"/>
                <a:ea typeface="Roboto" charset="0"/>
                <a:cs typeface="Roboto" charset="0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2DB65D-C6C6-854A-8CC7-67C8090685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3" y="5911850"/>
            <a:ext cx="6200775" cy="277813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 dirty="0"/>
              <a:t>Insert footnote/source here</a:t>
            </a:r>
          </a:p>
        </p:txBody>
      </p:sp>
    </p:spTree>
    <p:extLst>
      <p:ext uri="{BB962C8B-B14F-4D97-AF65-F5344CB8AC3E}">
        <p14:creationId xmlns:p14="http://schemas.microsoft.com/office/powerpoint/2010/main" val="32106751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6391B83-AB9E-F240-9CE1-6F75D24E0583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316228" y="1665288"/>
            <a:ext cx="9274175" cy="4246562"/>
          </a:xfrm>
          <a:solidFill>
            <a:schemeClr val="bg1"/>
          </a:solidFill>
        </p:spPr>
        <p:txBody>
          <a:bodyPr vert="horz" lIns="360000" tIns="360000" rIns="0" bIns="0" rtlCol="0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Insert tab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slid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DCF70B-BE39-AE41-856E-AE133E8DA2A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C4F643E-4361-5C49-9F09-60A150F97625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7ED8D-743E-4A42-AF82-06B91EF4579F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accent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F86FB59-E627-814F-B55C-0F646E4583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03CCD123-B352-A34F-BE8E-7204D3EA11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223FA958-D70C-8A49-B5F1-A59E09B4E82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302465" y="6347355"/>
            <a:ext cx="1041395" cy="1021289"/>
            <a:chOff x="2737" y="1746"/>
            <a:chExt cx="1266" cy="126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87A9C991-7E35-1C42-B331-435DBCC7DD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33A9371-3081-A845-B9EF-60C66202F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id="{D72BD0B9-CCDC-2640-94BA-29D806A8FF7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539497" y="118640"/>
            <a:ext cx="385232" cy="377794"/>
            <a:chOff x="2737" y="1746"/>
            <a:chExt cx="1266" cy="126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9174DB9-0388-054B-9656-EF69234A4A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E0A51EE-6A09-6E44-ABFA-BD300321D5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75C93B52-E8BE-CF4C-8D39-041E30BB4B7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1090" y="6288050"/>
            <a:ext cx="313313" cy="307264"/>
            <a:chOff x="2737" y="1746"/>
            <a:chExt cx="1266" cy="126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FFAE4AB9-2257-DD4D-93C2-7B8B8310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22A3308-7825-A249-A9CE-19A05DB2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2C483989-1600-DD4E-8294-243CD1639A6D}"/>
              </a:ext>
            </a:extLst>
          </p:cNvPr>
          <p:cNvSpPr/>
          <p:nvPr userDrawn="1"/>
        </p:nvSpPr>
        <p:spPr>
          <a:xfrm>
            <a:off x="8337120" y="-891305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15BF455-67BF-BA49-BE94-4E1C2257A92D}"/>
              </a:ext>
            </a:extLst>
          </p:cNvPr>
          <p:cNvGrpSpPr/>
          <p:nvPr userDrawn="1"/>
        </p:nvGrpSpPr>
        <p:grpSpPr>
          <a:xfrm>
            <a:off x="10846461" y="14497"/>
            <a:ext cx="2704348" cy="1789067"/>
            <a:chOff x="6811349" y="1211547"/>
            <a:chExt cx="1910979" cy="303058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FAF3E59-AAD9-F444-B322-C218CF98AAB1}"/>
                </a:ext>
              </a:extLst>
            </p:cNvPr>
            <p:cNvSpPr/>
            <p:nvPr/>
          </p:nvSpPr>
          <p:spPr>
            <a:xfrm>
              <a:off x="6948010" y="1806120"/>
              <a:ext cx="1774318" cy="2436008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ensure the table remains clean and consistent you can evenly distribute rows and columns. To activate the layout tab click on the table and click distribute rows or columns. </a:t>
              </a:r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92FABBFB-4E60-5A47-966C-6AD45C8112C7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9B2E33-F876-5841-BAA6-121C6E36071E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ADDING ROWS TABLES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CA0557D-C773-0D44-8068-F02A6E1C30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859" y="2052726"/>
            <a:ext cx="2463800" cy="158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7848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meline slid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DCF70B-BE39-AE41-856E-AE133E8DA2A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C4F643E-4361-5C49-9F09-60A150F97625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7ED8D-743E-4A42-AF82-06B91EF4579F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accent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F86FB59-E627-814F-B55C-0F646E4583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03CCD123-B352-A34F-BE8E-7204D3EA11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223FA958-D70C-8A49-B5F1-A59E09B4E82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302465" y="6347355"/>
            <a:ext cx="1041395" cy="1021289"/>
            <a:chOff x="2737" y="1746"/>
            <a:chExt cx="1266" cy="126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87A9C991-7E35-1C42-B331-435DBCC7DD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33A9371-3081-A845-B9EF-60C66202F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id="{D72BD0B9-CCDC-2640-94BA-29D806A8FF7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539497" y="118640"/>
            <a:ext cx="385232" cy="377794"/>
            <a:chOff x="2737" y="1746"/>
            <a:chExt cx="1266" cy="126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9174DB9-0388-054B-9656-EF69234A4A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E0A51EE-6A09-6E44-ABFA-BD300321D5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75C93B52-E8BE-CF4C-8D39-041E30BB4B7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1090" y="6288050"/>
            <a:ext cx="313313" cy="307264"/>
            <a:chOff x="2737" y="1746"/>
            <a:chExt cx="1266" cy="126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FFAE4AB9-2257-DD4D-93C2-7B8B8310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22A3308-7825-A249-A9CE-19A05DB2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2C483989-1600-DD4E-8294-243CD1639A6D}"/>
              </a:ext>
            </a:extLst>
          </p:cNvPr>
          <p:cNvSpPr/>
          <p:nvPr userDrawn="1"/>
        </p:nvSpPr>
        <p:spPr>
          <a:xfrm>
            <a:off x="8337120" y="-891305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15BF455-67BF-BA49-BE94-4E1C2257A92D}"/>
              </a:ext>
            </a:extLst>
          </p:cNvPr>
          <p:cNvGrpSpPr/>
          <p:nvPr userDrawn="1"/>
        </p:nvGrpSpPr>
        <p:grpSpPr>
          <a:xfrm>
            <a:off x="10846461" y="14497"/>
            <a:ext cx="2704348" cy="1050403"/>
            <a:chOff x="6811349" y="1211547"/>
            <a:chExt cx="1910979" cy="177932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FAF3E59-AAD9-F444-B322-C218CF98AAB1}"/>
                </a:ext>
              </a:extLst>
            </p:cNvPr>
            <p:cNvSpPr/>
            <p:nvPr/>
          </p:nvSpPr>
          <p:spPr>
            <a:xfrm>
              <a:off x="6948010" y="1806120"/>
              <a:ext cx="1774318" cy="1184752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add more years duplicate the slide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(command + D)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add in further information. </a:t>
              </a:r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92FABBFB-4E60-5A47-966C-6AD45C8112C7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9B2E33-F876-5841-BAA6-121C6E36071E}"/>
                </a:ext>
              </a:extLst>
            </p:cNvPr>
            <p:cNvSpPr/>
            <p:nvPr/>
          </p:nvSpPr>
          <p:spPr>
            <a:xfrm>
              <a:off x="6955407" y="1211547"/>
              <a:ext cx="1766921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ADDING MORE YEARS</a:t>
              </a: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705B3A3-472A-C34E-95AD-AEA65040077F}"/>
              </a:ext>
            </a:extLst>
          </p:cNvPr>
          <p:cNvCxnSpPr>
            <a:cxnSpLocks/>
          </p:cNvCxnSpPr>
          <p:nvPr/>
        </p:nvCxnSpPr>
        <p:spPr>
          <a:xfrm>
            <a:off x="332241" y="2515960"/>
            <a:ext cx="925753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2F5D6B8D-165F-3B4D-A331-6889584BDD5D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16227" y="1937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39" name="Text Placeholder 2078">
            <a:extLst>
              <a:ext uri="{FF2B5EF4-FFF2-40B4-BE49-F238E27FC236}">
                <a16:creationId xmlns:a16="http://schemas.microsoft.com/office/drawing/2014/main" id="{EB2BB161-7A3F-444D-8426-7837EA4C3B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8927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0" name="Text Placeholder 2078">
            <a:extLst>
              <a:ext uri="{FF2B5EF4-FFF2-40B4-BE49-F238E27FC236}">
                <a16:creationId xmlns:a16="http://schemas.microsoft.com/office/drawing/2014/main" id="{DC7879B0-CD6F-D543-B8B3-7F5730E5882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28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1" name="Text Placeholder 2078">
            <a:extLst>
              <a:ext uri="{FF2B5EF4-FFF2-40B4-BE49-F238E27FC236}">
                <a16:creationId xmlns:a16="http://schemas.microsoft.com/office/drawing/2014/main" id="{CAA7E926-7CF6-1346-A45D-B6D9D7C133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53729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3" name="Text Placeholder 2078">
            <a:extLst>
              <a:ext uri="{FF2B5EF4-FFF2-40B4-BE49-F238E27FC236}">
                <a16:creationId xmlns:a16="http://schemas.microsoft.com/office/drawing/2014/main" id="{8FAE6811-3B63-664E-B02C-C8CE9C2C58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65338" y="2280466"/>
            <a:ext cx="389270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4" name="Text Placeholder 2078">
            <a:extLst>
              <a:ext uri="{FF2B5EF4-FFF2-40B4-BE49-F238E27FC236}">
                <a16:creationId xmlns:a16="http://schemas.microsoft.com/office/drawing/2014/main" id="{E04D9284-B8B7-AE49-8709-B728CC4E8F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52937" y="2280466"/>
            <a:ext cx="46246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5" name="Text Placeholder 2078">
            <a:extLst>
              <a:ext uri="{FF2B5EF4-FFF2-40B4-BE49-F238E27FC236}">
                <a16:creationId xmlns:a16="http://schemas.microsoft.com/office/drawing/2014/main" id="{85F683AF-B9F5-9B4B-9AD8-25ACDC6590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40536" y="2280466"/>
            <a:ext cx="403327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6" name="Text Placeholder 2078">
            <a:extLst>
              <a:ext uri="{FF2B5EF4-FFF2-40B4-BE49-F238E27FC236}">
                <a16:creationId xmlns:a16="http://schemas.microsoft.com/office/drawing/2014/main" id="{E78B2D99-F0F1-4147-A640-DBCE83135E3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828135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7" name="Text Placeholder 2078">
            <a:extLst>
              <a:ext uri="{FF2B5EF4-FFF2-40B4-BE49-F238E27FC236}">
                <a16:creationId xmlns:a16="http://schemas.microsoft.com/office/drawing/2014/main" id="{37BFFF04-E9F6-E04B-A97B-66B8E0F293F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66130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8" name="Text Placeholder 2078">
            <a:extLst>
              <a:ext uri="{FF2B5EF4-FFF2-40B4-BE49-F238E27FC236}">
                <a16:creationId xmlns:a16="http://schemas.microsoft.com/office/drawing/2014/main" id="{EA65511C-015D-6A4C-88BC-AE05D9C377A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90932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9" name="Text Placeholder 2078">
            <a:extLst>
              <a:ext uri="{FF2B5EF4-FFF2-40B4-BE49-F238E27FC236}">
                <a16:creationId xmlns:a16="http://schemas.microsoft.com/office/drawing/2014/main" id="{D5209F95-3447-C345-958F-E801DDE094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03333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50" name="Text Placeholder 2078">
            <a:extLst>
              <a:ext uri="{FF2B5EF4-FFF2-40B4-BE49-F238E27FC236}">
                <a16:creationId xmlns:a16="http://schemas.microsoft.com/office/drawing/2014/main" id="{2BC3D4D0-FA0B-D34A-8AB2-AADCAFB4A1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78531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51" name="Text Placeholder 2078">
            <a:extLst>
              <a:ext uri="{FF2B5EF4-FFF2-40B4-BE49-F238E27FC236}">
                <a16:creationId xmlns:a16="http://schemas.microsoft.com/office/drawing/2014/main" id="{7C731BEA-4051-824E-89AB-074452C61D0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015734" y="2280466"/>
            <a:ext cx="293373" cy="235494"/>
          </a:xfrm>
        </p:spPr>
        <p:txBody>
          <a:bodyPr wrap="none">
            <a:noAutofit/>
          </a:bodyPr>
          <a:lstStyle>
            <a:lvl1pPr>
              <a:defRPr sz="13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XX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A198ABB-ACB3-434E-87CE-F45121B37B51}"/>
              </a:ext>
            </a:extLst>
          </p:cNvPr>
          <p:cNvGrpSpPr/>
          <p:nvPr userDrawn="1"/>
        </p:nvGrpSpPr>
        <p:grpSpPr>
          <a:xfrm>
            <a:off x="10846462" y="3240297"/>
            <a:ext cx="3034639" cy="1249566"/>
            <a:chOff x="6811349" y="1211547"/>
            <a:chExt cx="2144373" cy="2116696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8EFCAFB-A5C1-6447-A534-C125ACC85240}"/>
                </a:ext>
              </a:extLst>
            </p:cNvPr>
            <p:cNvSpPr/>
            <p:nvPr/>
          </p:nvSpPr>
          <p:spPr>
            <a:xfrm>
              <a:off x="6948010" y="1830677"/>
              <a:ext cx="2007712" cy="1497566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To add more items duplicate the bar </a:t>
              </a:r>
              <a:r>
                <a:rPr lang="en-US" sz="1200" b="1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(command + D) </a:t>
              </a:r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and add in further information to remove items delete bars.</a:t>
              </a:r>
            </a:p>
          </p:txBody>
        </p:sp>
        <p:sp>
          <p:nvSpPr>
            <p:cNvPr id="54" name="Triangle 53">
              <a:extLst>
                <a:ext uri="{FF2B5EF4-FFF2-40B4-BE49-F238E27FC236}">
                  <a16:creationId xmlns:a16="http://schemas.microsoft.com/office/drawing/2014/main" id="{04DFA73F-A0F0-1E45-8308-734351DF6464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BCBFF41-F421-8C40-BFCA-01F091B35306}"/>
                </a:ext>
              </a:extLst>
            </p:cNvPr>
            <p:cNvSpPr/>
            <p:nvPr/>
          </p:nvSpPr>
          <p:spPr>
            <a:xfrm>
              <a:off x="6955407" y="1211547"/>
              <a:ext cx="2000315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ADDING MORE/LESS I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37634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228" y="668773"/>
            <a:ext cx="7727635" cy="49847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able slid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DCF70B-BE39-AE41-856E-AE133E8DA2A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C4F643E-4361-5C49-9F09-60A150F97625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7ED8D-743E-4A42-AF82-06B91EF4579F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bg1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F86FB59-E627-814F-B55C-0F646E4583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03CCD123-B352-A34F-BE8E-7204D3EA11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8" y="1175566"/>
            <a:ext cx="7741437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6" name="Table Placeholder 3">
            <a:extLst>
              <a:ext uri="{FF2B5EF4-FFF2-40B4-BE49-F238E27FC236}">
                <a16:creationId xmlns:a16="http://schemas.microsoft.com/office/drawing/2014/main" id="{4D388789-2F1D-8144-87BE-832E555C8C93}"/>
              </a:ext>
            </a:extLst>
          </p:cNvPr>
          <p:cNvSpPr>
            <a:spLocks noGrp="1"/>
          </p:cNvSpPr>
          <p:nvPr>
            <p:ph type="tbl" sz="quarter" idx="27" hasCustomPrompt="1"/>
          </p:nvPr>
        </p:nvSpPr>
        <p:spPr>
          <a:xfrm>
            <a:off x="315913" y="1665288"/>
            <a:ext cx="7727950" cy="3714750"/>
          </a:xfrm>
        </p:spPr>
        <p:txBody>
          <a:bodyPr lIns="251999" tIns="251999"/>
          <a:lstStyle>
            <a:lvl1pPr marL="0" marR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3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Insert table here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E872903-0C5D-F44B-A1B3-EB7B3FDE9DB0}"/>
              </a:ext>
            </a:extLst>
          </p:cNvPr>
          <p:cNvSpPr/>
          <p:nvPr userDrawn="1"/>
        </p:nvSpPr>
        <p:spPr>
          <a:xfrm>
            <a:off x="8306974" y="3202894"/>
            <a:ext cx="2573211" cy="2519549"/>
          </a:xfrm>
          <a:prstGeom prst="ellipse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800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47C828E3-7E62-4741-A497-0F0F1BECB10A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8335014" y="2529906"/>
            <a:ext cx="1267457" cy="1241025"/>
          </a:xfrm>
          <a:prstGeom prst="ellipse">
            <a:avLst/>
          </a:prstGeom>
          <a:solidFill>
            <a:schemeClr val="accent5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2199E4B-1480-3B47-A417-438F33C8B71C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8489402" y="474654"/>
            <a:ext cx="1100686" cy="1077732"/>
          </a:xfrm>
          <a:prstGeom prst="ellipse">
            <a:avLst/>
          </a:prstGeom>
          <a:solidFill>
            <a:schemeClr val="accent2">
              <a:alpha val="7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1" name="Group 4">
            <a:extLst>
              <a:ext uri="{FF2B5EF4-FFF2-40B4-BE49-F238E27FC236}">
                <a16:creationId xmlns:a16="http://schemas.microsoft.com/office/drawing/2014/main" id="{B84493BD-C3C6-C346-8A0D-55164D50C8D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85909" y="6124026"/>
            <a:ext cx="407671" cy="430903"/>
            <a:chOff x="1841" y="2"/>
            <a:chExt cx="4000" cy="4318"/>
          </a:xfrm>
          <a:solidFill>
            <a:schemeClr val="bg1"/>
          </a:solidFill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B7A94290-5CB3-4B4D-B120-CD466958EA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43B0A58A-3E92-2C47-B3FF-0FB0B73F6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F90F3B1-CFD0-E448-B23C-50D1BE816633}"/>
              </a:ext>
            </a:extLst>
          </p:cNvPr>
          <p:cNvGrpSpPr/>
          <p:nvPr userDrawn="1"/>
        </p:nvGrpSpPr>
        <p:grpSpPr>
          <a:xfrm>
            <a:off x="10846462" y="3240297"/>
            <a:ext cx="3034639" cy="845218"/>
            <a:chOff x="6811349" y="1211547"/>
            <a:chExt cx="2144373" cy="143175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8D22E9E-7F0F-FF40-9631-85D2AD474BAF}"/>
                </a:ext>
              </a:extLst>
            </p:cNvPr>
            <p:cNvSpPr/>
            <p:nvPr/>
          </p:nvSpPr>
          <p:spPr>
            <a:xfrm>
              <a:off x="6948010" y="1771362"/>
              <a:ext cx="2007712" cy="871938"/>
            </a:xfrm>
            <a:prstGeom prst="rect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en-US" sz="1200" i="1" dirty="0">
                  <a:solidFill>
                    <a:schemeClr val="tx1">
                      <a:lumMod val="50000"/>
                    </a:schemeClr>
                  </a:solidFill>
                  <a:ea typeface="Roboto" charset="0"/>
                  <a:cs typeface="Roboto" charset="0"/>
                </a:rPr>
                <a:t>Highlight the columns you wish to delete, right click and delete.</a:t>
              </a:r>
            </a:p>
          </p:txBody>
        </p:sp>
        <p:sp>
          <p:nvSpPr>
            <p:cNvPr id="19" name="Triangle 18">
              <a:extLst>
                <a:ext uri="{FF2B5EF4-FFF2-40B4-BE49-F238E27FC236}">
                  <a16:creationId xmlns:a16="http://schemas.microsoft.com/office/drawing/2014/main" id="{929EE0F7-D5F1-E045-9E2F-C7555BE82C67}"/>
                </a:ext>
              </a:extLst>
            </p:cNvPr>
            <p:cNvSpPr/>
            <p:nvPr/>
          </p:nvSpPr>
          <p:spPr>
            <a:xfrm rot="16200000" flipH="1">
              <a:off x="6587722" y="2139000"/>
              <a:ext cx="583915" cy="136661"/>
            </a:xfrm>
            <a:prstGeom prst="triangle">
              <a:avLst/>
            </a:prstGeom>
            <a:solidFill>
              <a:srgbClr val="B6E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sz="1000" i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CA125C3-B99A-0749-B751-AFF3CB89338D}"/>
                </a:ext>
              </a:extLst>
            </p:cNvPr>
            <p:cNvSpPr/>
            <p:nvPr/>
          </p:nvSpPr>
          <p:spPr>
            <a:xfrm>
              <a:off x="6955407" y="1211547"/>
              <a:ext cx="2000315" cy="619130"/>
            </a:xfrm>
            <a:prstGeom prst="rect">
              <a:avLst/>
            </a:prstGeom>
            <a:solidFill>
              <a:srgbClr val="4CE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72000" rtlCol="0" anchor="ctr"/>
            <a:lstStyle/>
            <a:p>
              <a:pPr lvl="0"/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  <a:latin typeface="Oswald Medium"/>
                  <a:ea typeface="Roboto" charset="0"/>
                  <a:cs typeface="Roboto" charset="0"/>
                </a:rPr>
                <a:t>TIP – REMOVING COLUM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41448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br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19233E"/>
                </a:solidFill>
              </a:defRPr>
            </a:lvl1pPr>
          </a:lstStyle>
          <a:p>
            <a:r>
              <a:rPr lang="en-US" dirty="0"/>
              <a:t>Icon library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rgbClr val="19233E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58" name="Footer Placeholder 3">
            <a:extLst>
              <a:ext uri="{FF2B5EF4-FFF2-40B4-BE49-F238E27FC236}">
                <a16:creationId xmlns:a16="http://schemas.microsoft.com/office/drawing/2014/main" id="{7B02F20A-E8AC-584C-8F98-25FA0E32D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5547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Instructions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9233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9" y="1881187"/>
            <a:ext cx="447000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19233E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rgbClr val="19233E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rgbClr val="19233E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rgbClr val="19233E"/>
                </a:solidFill>
              </a:defRPr>
            </a:lvl4pPr>
            <a:lvl5pPr>
              <a:defRPr>
                <a:solidFill>
                  <a:srgbClr val="19233E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16998" y="1881187"/>
            <a:ext cx="4470000" cy="4030633"/>
          </a:xfrm>
        </p:spPr>
        <p:txBody>
          <a:bodyPr>
            <a:noAutofit/>
          </a:bodyPr>
          <a:lstStyle>
            <a:lvl1pPr>
              <a:defRPr>
                <a:solidFill>
                  <a:srgbClr val="19233E"/>
                </a:solidFill>
              </a:defRPr>
            </a:lvl1pPr>
            <a:lvl2pPr>
              <a:defRPr>
                <a:solidFill>
                  <a:srgbClr val="19233E"/>
                </a:solidFill>
              </a:defRPr>
            </a:lvl2pPr>
            <a:lvl3pPr>
              <a:defRPr>
                <a:solidFill>
                  <a:srgbClr val="19233E"/>
                </a:solidFill>
              </a:defRPr>
            </a:lvl3pPr>
            <a:lvl4pPr>
              <a:defRPr>
                <a:solidFill>
                  <a:srgbClr val="19233E"/>
                </a:solidFill>
              </a:defRPr>
            </a:lvl4pPr>
            <a:lvl5pPr>
              <a:defRPr>
                <a:solidFill>
                  <a:srgbClr val="19233E"/>
                </a:solidFill>
              </a:defRPr>
            </a:lvl5pPr>
          </a:lstStyle>
          <a:p>
            <a:pPr lvl="0"/>
            <a:r>
              <a:rPr lang="en-US" dirty="0"/>
              <a:t>Montserrat Medium Point Size 14</a:t>
            </a:r>
          </a:p>
          <a:p>
            <a:pPr lvl="0"/>
            <a:r>
              <a:rPr lang="en-US" dirty="0"/>
              <a:t>Montserrat Medium Point Size 14</a:t>
            </a:r>
          </a:p>
          <a:p>
            <a:pPr lvl="0"/>
            <a:r>
              <a:rPr lang="en-US" dirty="0"/>
              <a:t>Montserrat Medium Point Size 12</a:t>
            </a:r>
          </a:p>
          <a:p>
            <a:pPr lvl="0"/>
            <a:r>
              <a:rPr lang="en-US" dirty="0"/>
              <a:t>Montserrat Light Point Size 12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E0209DAC-2CDA-1542-A91A-6D90370246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078">
            <a:extLst>
              <a:ext uri="{FF2B5EF4-FFF2-40B4-BE49-F238E27FC236}">
                <a16:creationId xmlns:a16="http://schemas.microsoft.com/office/drawing/2014/main" id="{9E9DA5A4-1A7E-2548-AD67-C81E6E9C2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4A2B057-D6A1-C14A-AAC3-464F4406A251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F2D107B-3615-B049-BF4B-150EC0FCDA72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3A59B52-EAD6-654A-9660-263545E42B74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44947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9233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rgbClr val="19233E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2985A37B-B28F-1A4A-AE84-04C2167E83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4436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99337" y="3931571"/>
            <a:ext cx="5133975" cy="788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647200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8274654" y="5126959"/>
            <a:ext cx="2743200" cy="7880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88178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7" y="1881187"/>
            <a:ext cx="9268179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9C2C0D5-A346-2643-9D8C-8C22D5D50C6E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EFECAC3-BF7B-B746-B2D0-F554BFDC296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74AE827-7224-224D-825A-55775AA3B745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E84D184-0E36-4D4E-BB2E-2CD914E38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2078">
            <a:extLst>
              <a:ext uri="{FF2B5EF4-FFF2-40B4-BE49-F238E27FC236}">
                <a16:creationId xmlns:a16="http://schemas.microsoft.com/office/drawing/2014/main" id="{DE976D40-EB64-8443-8524-2F97084E2C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BF3647FD-FD9A-9449-AC8B-CC151CEB9EA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302465" y="6347355"/>
            <a:ext cx="1041395" cy="1021289"/>
            <a:chOff x="2737" y="1746"/>
            <a:chExt cx="1266" cy="126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DBA25E0-7D4A-474E-B06F-7331AFB3AD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474709-9F5A-F74C-B916-3D2F431222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id="{0D0A281D-98B7-2F4B-9C53-6977F980F5D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543011" y="-578855"/>
            <a:ext cx="1041395" cy="1021289"/>
            <a:chOff x="2737" y="1746"/>
            <a:chExt cx="1266" cy="126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8068435-172B-564C-87DC-CACBBFDFC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6080AE25-9CAA-BA4E-9B1B-239D14230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2DDB0399-0926-6E48-9FFB-37915D81FE7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343860" y="6124071"/>
            <a:ext cx="313313" cy="307264"/>
            <a:chOff x="2737" y="1746"/>
            <a:chExt cx="1266" cy="126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A7AAB37E-13CD-DA44-843E-7A3C117D7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4" y="1746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0FB435B-D752-0141-8114-0E00EC066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7" y="1746"/>
              <a:ext cx="1266" cy="1268"/>
            </a:xfrm>
            <a:custGeom>
              <a:avLst/>
              <a:gdLst>
                <a:gd name="T0" fmla="*/ 518 w 534"/>
                <a:gd name="T1" fmla="*/ 190 h 536"/>
                <a:gd name="T2" fmla="*/ 510 w 534"/>
                <a:gd name="T3" fmla="*/ 163 h 536"/>
                <a:gd name="T4" fmla="*/ 499 w 534"/>
                <a:gd name="T5" fmla="*/ 140 h 536"/>
                <a:gd name="T6" fmla="*/ 488 w 534"/>
                <a:gd name="T7" fmla="*/ 117 h 536"/>
                <a:gd name="T8" fmla="*/ 471 w 534"/>
                <a:gd name="T9" fmla="*/ 96 h 536"/>
                <a:gd name="T10" fmla="*/ 463 w 534"/>
                <a:gd name="T11" fmla="*/ 86 h 536"/>
                <a:gd name="T12" fmla="*/ 442 w 534"/>
                <a:gd name="T13" fmla="*/ 64 h 536"/>
                <a:gd name="T14" fmla="*/ 427 w 534"/>
                <a:gd name="T15" fmla="*/ 56 h 536"/>
                <a:gd name="T16" fmla="*/ 406 w 534"/>
                <a:gd name="T17" fmla="*/ 41 h 536"/>
                <a:gd name="T18" fmla="*/ 386 w 534"/>
                <a:gd name="T19" fmla="*/ 32 h 536"/>
                <a:gd name="T20" fmla="*/ 361 w 534"/>
                <a:gd name="T21" fmla="*/ 19 h 536"/>
                <a:gd name="T22" fmla="*/ 349 w 534"/>
                <a:gd name="T23" fmla="*/ 15 h 536"/>
                <a:gd name="T24" fmla="*/ 335 w 534"/>
                <a:gd name="T25" fmla="*/ 9 h 536"/>
                <a:gd name="T26" fmla="*/ 301 w 534"/>
                <a:gd name="T27" fmla="*/ 5 h 536"/>
                <a:gd name="T28" fmla="*/ 277 w 534"/>
                <a:gd name="T29" fmla="*/ 3 h 536"/>
                <a:gd name="T30" fmla="*/ 322 w 534"/>
                <a:gd name="T31" fmla="*/ 6 h 536"/>
                <a:gd name="T32" fmla="*/ 294 w 534"/>
                <a:gd name="T33" fmla="*/ 0 h 536"/>
                <a:gd name="T34" fmla="*/ 251 w 534"/>
                <a:gd name="T35" fmla="*/ 0 h 536"/>
                <a:gd name="T36" fmla="*/ 223 w 534"/>
                <a:gd name="T37" fmla="*/ 3 h 536"/>
                <a:gd name="T38" fmla="*/ 153 w 534"/>
                <a:gd name="T39" fmla="*/ 26 h 536"/>
                <a:gd name="T40" fmla="*/ 141 w 534"/>
                <a:gd name="T41" fmla="*/ 32 h 536"/>
                <a:gd name="T42" fmla="*/ 109 w 534"/>
                <a:gd name="T43" fmla="*/ 52 h 536"/>
                <a:gd name="T44" fmla="*/ 89 w 534"/>
                <a:gd name="T45" fmla="*/ 65 h 536"/>
                <a:gd name="T46" fmla="*/ 77 w 534"/>
                <a:gd name="T47" fmla="*/ 77 h 536"/>
                <a:gd name="T48" fmla="*/ 70 w 534"/>
                <a:gd name="T49" fmla="*/ 90 h 536"/>
                <a:gd name="T50" fmla="*/ 57 w 534"/>
                <a:gd name="T51" fmla="*/ 106 h 536"/>
                <a:gd name="T52" fmla="*/ 44 w 534"/>
                <a:gd name="T53" fmla="*/ 125 h 536"/>
                <a:gd name="T54" fmla="*/ 20 w 534"/>
                <a:gd name="T55" fmla="*/ 170 h 536"/>
                <a:gd name="T56" fmla="*/ 13 w 534"/>
                <a:gd name="T57" fmla="*/ 188 h 536"/>
                <a:gd name="T58" fmla="*/ 8 w 534"/>
                <a:gd name="T59" fmla="*/ 202 h 536"/>
                <a:gd name="T60" fmla="*/ 3 w 534"/>
                <a:gd name="T61" fmla="*/ 220 h 536"/>
                <a:gd name="T62" fmla="*/ 4 w 534"/>
                <a:gd name="T63" fmla="*/ 236 h 536"/>
                <a:gd name="T64" fmla="*/ 2 w 534"/>
                <a:gd name="T65" fmla="*/ 254 h 536"/>
                <a:gd name="T66" fmla="*/ 1 w 534"/>
                <a:gd name="T67" fmla="*/ 271 h 536"/>
                <a:gd name="T68" fmla="*/ 2 w 534"/>
                <a:gd name="T69" fmla="*/ 288 h 536"/>
                <a:gd name="T70" fmla="*/ 6 w 534"/>
                <a:gd name="T71" fmla="*/ 324 h 536"/>
                <a:gd name="T72" fmla="*/ 12 w 534"/>
                <a:gd name="T73" fmla="*/ 348 h 536"/>
                <a:gd name="T74" fmla="*/ 28 w 534"/>
                <a:gd name="T75" fmla="*/ 387 h 536"/>
                <a:gd name="T76" fmla="*/ 48 w 534"/>
                <a:gd name="T77" fmla="*/ 423 h 536"/>
                <a:gd name="T78" fmla="*/ 90 w 534"/>
                <a:gd name="T79" fmla="*/ 468 h 536"/>
                <a:gd name="T80" fmla="*/ 119 w 534"/>
                <a:gd name="T81" fmla="*/ 492 h 536"/>
                <a:gd name="T82" fmla="*/ 154 w 534"/>
                <a:gd name="T83" fmla="*/ 510 h 536"/>
                <a:gd name="T84" fmla="*/ 197 w 534"/>
                <a:gd name="T85" fmla="*/ 526 h 536"/>
                <a:gd name="T86" fmla="*/ 227 w 534"/>
                <a:gd name="T87" fmla="*/ 534 h 536"/>
                <a:gd name="T88" fmla="*/ 238 w 534"/>
                <a:gd name="T89" fmla="*/ 534 h 536"/>
                <a:gd name="T90" fmla="*/ 272 w 534"/>
                <a:gd name="T91" fmla="*/ 536 h 536"/>
                <a:gd name="T92" fmla="*/ 336 w 534"/>
                <a:gd name="T93" fmla="*/ 529 h 536"/>
                <a:gd name="T94" fmla="*/ 362 w 534"/>
                <a:gd name="T95" fmla="*/ 519 h 536"/>
                <a:gd name="T96" fmla="*/ 462 w 534"/>
                <a:gd name="T97" fmla="*/ 454 h 536"/>
                <a:gd name="T98" fmla="*/ 491 w 534"/>
                <a:gd name="T99" fmla="*/ 418 h 536"/>
                <a:gd name="T100" fmla="*/ 515 w 534"/>
                <a:gd name="T101" fmla="*/ 372 h 536"/>
                <a:gd name="T102" fmla="*/ 524 w 534"/>
                <a:gd name="T103" fmla="*/ 347 h 536"/>
                <a:gd name="T104" fmla="*/ 531 w 534"/>
                <a:gd name="T105" fmla="*/ 319 h 536"/>
                <a:gd name="T106" fmla="*/ 531 w 534"/>
                <a:gd name="T107" fmla="*/ 268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4" h="536">
                  <a:moveTo>
                    <a:pt x="531" y="268"/>
                  </a:moveTo>
                  <a:cubicBezTo>
                    <a:pt x="530" y="268"/>
                    <a:pt x="530" y="269"/>
                    <a:pt x="530" y="269"/>
                  </a:cubicBezTo>
                  <a:cubicBezTo>
                    <a:pt x="530" y="269"/>
                    <a:pt x="530" y="268"/>
                    <a:pt x="530" y="268"/>
                  </a:cubicBezTo>
                  <a:cubicBezTo>
                    <a:pt x="530" y="241"/>
                    <a:pt x="526" y="215"/>
                    <a:pt x="518" y="190"/>
                  </a:cubicBezTo>
                  <a:cubicBezTo>
                    <a:pt x="518" y="190"/>
                    <a:pt x="518" y="190"/>
                    <a:pt x="518" y="190"/>
                  </a:cubicBezTo>
                  <a:cubicBezTo>
                    <a:pt x="517" y="188"/>
                    <a:pt x="517" y="186"/>
                    <a:pt x="516" y="184"/>
                  </a:cubicBezTo>
                  <a:cubicBezTo>
                    <a:pt x="516" y="182"/>
                    <a:pt x="515" y="179"/>
                    <a:pt x="515" y="177"/>
                  </a:cubicBezTo>
                  <a:cubicBezTo>
                    <a:pt x="514" y="175"/>
                    <a:pt x="513" y="173"/>
                    <a:pt x="513" y="171"/>
                  </a:cubicBezTo>
                  <a:cubicBezTo>
                    <a:pt x="512" y="169"/>
                    <a:pt x="512" y="168"/>
                    <a:pt x="511" y="166"/>
                  </a:cubicBezTo>
                  <a:cubicBezTo>
                    <a:pt x="511" y="165"/>
                    <a:pt x="510" y="163"/>
                    <a:pt x="510" y="163"/>
                  </a:cubicBezTo>
                  <a:cubicBezTo>
                    <a:pt x="509" y="161"/>
                    <a:pt x="509" y="159"/>
                    <a:pt x="508" y="157"/>
                  </a:cubicBezTo>
                  <a:cubicBezTo>
                    <a:pt x="507" y="155"/>
                    <a:pt x="506" y="154"/>
                    <a:pt x="505" y="152"/>
                  </a:cubicBezTo>
                  <a:cubicBezTo>
                    <a:pt x="504" y="150"/>
                    <a:pt x="503" y="148"/>
                    <a:pt x="502" y="146"/>
                  </a:cubicBezTo>
                  <a:cubicBezTo>
                    <a:pt x="501" y="145"/>
                    <a:pt x="501" y="144"/>
                    <a:pt x="500" y="143"/>
                  </a:cubicBezTo>
                  <a:cubicBezTo>
                    <a:pt x="500" y="142"/>
                    <a:pt x="499" y="141"/>
                    <a:pt x="499" y="140"/>
                  </a:cubicBezTo>
                  <a:cubicBezTo>
                    <a:pt x="492" y="127"/>
                    <a:pt x="496" y="133"/>
                    <a:pt x="493" y="127"/>
                  </a:cubicBezTo>
                  <a:cubicBezTo>
                    <a:pt x="488" y="119"/>
                    <a:pt x="493" y="129"/>
                    <a:pt x="491" y="126"/>
                  </a:cubicBezTo>
                  <a:cubicBezTo>
                    <a:pt x="489" y="121"/>
                    <a:pt x="489" y="121"/>
                    <a:pt x="489" y="121"/>
                  </a:cubicBezTo>
                  <a:cubicBezTo>
                    <a:pt x="488" y="119"/>
                    <a:pt x="487" y="118"/>
                    <a:pt x="486" y="116"/>
                  </a:cubicBezTo>
                  <a:cubicBezTo>
                    <a:pt x="490" y="121"/>
                    <a:pt x="488" y="118"/>
                    <a:pt x="488" y="117"/>
                  </a:cubicBezTo>
                  <a:cubicBezTo>
                    <a:pt x="486" y="115"/>
                    <a:pt x="485" y="113"/>
                    <a:pt x="483" y="111"/>
                  </a:cubicBezTo>
                  <a:cubicBezTo>
                    <a:pt x="483" y="109"/>
                    <a:pt x="482" y="108"/>
                    <a:pt x="481" y="107"/>
                  </a:cubicBezTo>
                  <a:cubicBezTo>
                    <a:pt x="480" y="106"/>
                    <a:pt x="479" y="105"/>
                    <a:pt x="479" y="104"/>
                  </a:cubicBezTo>
                  <a:cubicBezTo>
                    <a:pt x="477" y="102"/>
                    <a:pt x="476" y="100"/>
                    <a:pt x="474" y="98"/>
                  </a:cubicBezTo>
                  <a:cubicBezTo>
                    <a:pt x="473" y="97"/>
                    <a:pt x="472" y="96"/>
                    <a:pt x="471" y="96"/>
                  </a:cubicBezTo>
                  <a:cubicBezTo>
                    <a:pt x="469" y="93"/>
                    <a:pt x="468" y="91"/>
                    <a:pt x="467" y="90"/>
                  </a:cubicBezTo>
                  <a:cubicBezTo>
                    <a:pt x="465" y="88"/>
                    <a:pt x="465" y="87"/>
                    <a:pt x="464" y="86"/>
                  </a:cubicBezTo>
                  <a:cubicBezTo>
                    <a:pt x="463" y="84"/>
                    <a:pt x="462" y="83"/>
                    <a:pt x="460" y="81"/>
                  </a:cubicBezTo>
                  <a:cubicBezTo>
                    <a:pt x="461" y="83"/>
                    <a:pt x="463" y="86"/>
                    <a:pt x="463" y="86"/>
                  </a:cubicBezTo>
                  <a:cubicBezTo>
                    <a:pt x="460" y="82"/>
                    <a:pt x="461" y="84"/>
                    <a:pt x="463" y="86"/>
                  </a:cubicBezTo>
                  <a:cubicBezTo>
                    <a:pt x="462" y="85"/>
                    <a:pt x="461" y="84"/>
                    <a:pt x="460" y="83"/>
                  </a:cubicBezTo>
                  <a:cubicBezTo>
                    <a:pt x="459" y="82"/>
                    <a:pt x="457" y="80"/>
                    <a:pt x="456" y="79"/>
                  </a:cubicBezTo>
                  <a:cubicBezTo>
                    <a:pt x="455" y="77"/>
                    <a:pt x="453" y="76"/>
                    <a:pt x="451" y="74"/>
                  </a:cubicBezTo>
                  <a:cubicBezTo>
                    <a:pt x="450" y="72"/>
                    <a:pt x="448" y="70"/>
                    <a:pt x="446" y="69"/>
                  </a:cubicBezTo>
                  <a:cubicBezTo>
                    <a:pt x="445" y="67"/>
                    <a:pt x="443" y="66"/>
                    <a:pt x="442" y="64"/>
                  </a:cubicBezTo>
                  <a:cubicBezTo>
                    <a:pt x="441" y="63"/>
                    <a:pt x="440" y="63"/>
                    <a:pt x="439" y="62"/>
                  </a:cubicBezTo>
                  <a:cubicBezTo>
                    <a:pt x="439" y="61"/>
                    <a:pt x="438" y="61"/>
                    <a:pt x="437" y="60"/>
                  </a:cubicBezTo>
                  <a:cubicBezTo>
                    <a:pt x="435" y="58"/>
                    <a:pt x="433" y="57"/>
                    <a:pt x="432" y="57"/>
                  </a:cubicBezTo>
                  <a:cubicBezTo>
                    <a:pt x="432" y="57"/>
                    <a:pt x="432" y="57"/>
                    <a:pt x="432" y="57"/>
                  </a:cubicBezTo>
                  <a:cubicBezTo>
                    <a:pt x="430" y="56"/>
                    <a:pt x="432" y="59"/>
                    <a:pt x="427" y="56"/>
                  </a:cubicBezTo>
                  <a:cubicBezTo>
                    <a:pt x="424" y="54"/>
                    <a:pt x="424" y="54"/>
                    <a:pt x="424" y="54"/>
                  </a:cubicBezTo>
                  <a:cubicBezTo>
                    <a:pt x="420" y="51"/>
                    <a:pt x="420" y="51"/>
                    <a:pt x="420" y="51"/>
                  </a:cubicBezTo>
                  <a:cubicBezTo>
                    <a:pt x="417" y="49"/>
                    <a:pt x="419" y="49"/>
                    <a:pt x="419" y="49"/>
                  </a:cubicBezTo>
                  <a:cubicBezTo>
                    <a:pt x="417" y="48"/>
                    <a:pt x="415" y="47"/>
                    <a:pt x="413" y="46"/>
                  </a:cubicBezTo>
                  <a:cubicBezTo>
                    <a:pt x="410" y="44"/>
                    <a:pt x="408" y="43"/>
                    <a:pt x="406" y="41"/>
                  </a:cubicBezTo>
                  <a:cubicBezTo>
                    <a:pt x="401" y="38"/>
                    <a:pt x="396" y="35"/>
                    <a:pt x="391" y="33"/>
                  </a:cubicBezTo>
                  <a:cubicBezTo>
                    <a:pt x="393" y="34"/>
                    <a:pt x="394" y="35"/>
                    <a:pt x="396" y="37"/>
                  </a:cubicBezTo>
                  <a:cubicBezTo>
                    <a:pt x="400" y="41"/>
                    <a:pt x="400" y="41"/>
                    <a:pt x="400" y="41"/>
                  </a:cubicBezTo>
                  <a:cubicBezTo>
                    <a:pt x="398" y="40"/>
                    <a:pt x="396" y="38"/>
                    <a:pt x="393" y="37"/>
                  </a:cubicBezTo>
                  <a:cubicBezTo>
                    <a:pt x="391" y="35"/>
                    <a:pt x="389" y="34"/>
                    <a:pt x="386" y="32"/>
                  </a:cubicBezTo>
                  <a:cubicBezTo>
                    <a:pt x="384" y="31"/>
                    <a:pt x="382" y="30"/>
                    <a:pt x="380" y="29"/>
                  </a:cubicBezTo>
                  <a:cubicBezTo>
                    <a:pt x="378" y="28"/>
                    <a:pt x="377" y="28"/>
                    <a:pt x="376" y="28"/>
                  </a:cubicBezTo>
                  <a:cubicBezTo>
                    <a:pt x="375" y="27"/>
                    <a:pt x="373" y="26"/>
                    <a:pt x="372" y="25"/>
                  </a:cubicBezTo>
                  <a:cubicBezTo>
                    <a:pt x="368" y="22"/>
                    <a:pt x="365" y="21"/>
                    <a:pt x="363" y="20"/>
                  </a:cubicBezTo>
                  <a:cubicBezTo>
                    <a:pt x="362" y="20"/>
                    <a:pt x="361" y="20"/>
                    <a:pt x="361" y="19"/>
                  </a:cubicBezTo>
                  <a:cubicBezTo>
                    <a:pt x="360" y="19"/>
                    <a:pt x="359" y="19"/>
                    <a:pt x="359" y="19"/>
                  </a:cubicBezTo>
                  <a:cubicBezTo>
                    <a:pt x="357" y="19"/>
                    <a:pt x="357" y="19"/>
                    <a:pt x="353" y="18"/>
                  </a:cubicBezTo>
                  <a:cubicBezTo>
                    <a:pt x="349" y="16"/>
                    <a:pt x="349" y="16"/>
                    <a:pt x="349" y="16"/>
                  </a:cubicBezTo>
                  <a:cubicBezTo>
                    <a:pt x="348" y="15"/>
                    <a:pt x="346" y="15"/>
                    <a:pt x="345" y="14"/>
                  </a:cubicBezTo>
                  <a:cubicBezTo>
                    <a:pt x="346" y="14"/>
                    <a:pt x="348" y="15"/>
                    <a:pt x="349" y="15"/>
                  </a:cubicBezTo>
                  <a:cubicBezTo>
                    <a:pt x="354" y="17"/>
                    <a:pt x="354" y="17"/>
                    <a:pt x="354" y="17"/>
                  </a:cubicBezTo>
                  <a:cubicBezTo>
                    <a:pt x="351" y="16"/>
                    <a:pt x="350" y="15"/>
                    <a:pt x="348" y="14"/>
                  </a:cubicBezTo>
                  <a:cubicBezTo>
                    <a:pt x="346" y="14"/>
                    <a:pt x="345" y="13"/>
                    <a:pt x="344" y="13"/>
                  </a:cubicBezTo>
                  <a:cubicBezTo>
                    <a:pt x="341" y="12"/>
                    <a:pt x="338" y="11"/>
                    <a:pt x="335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5" y="10"/>
                    <a:pt x="336" y="10"/>
                    <a:pt x="336" y="10"/>
                  </a:cubicBezTo>
                  <a:cubicBezTo>
                    <a:pt x="334" y="9"/>
                    <a:pt x="334" y="9"/>
                    <a:pt x="334" y="9"/>
                  </a:cubicBezTo>
                  <a:cubicBezTo>
                    <a:pt x="333" y="10"/>
                    <a:pt x="328" y="9"/>
                    <a:pt x="322" y="8"/>
                  </a:cubicBezTo>
                  <a:cubicBezTo>
                    <a:pt x="318" y="7"/>
                    <a:pt x="314" y="6"/>
                    <a:pt x="309" y="6"/>
                  </a:cubicBezTo>
                  <a:cubicBezTo>
                    <a:pt x="307" y="5"/>
                    <a:pt x="304" y="5"/>
                    <a:pt x="301" y="5"/>
                  </a:cubicBezTo>
                  <a:cubicBezTo>
                    <a:pt x="300" y="4"/>
                    <a:pt x="298" y="4"/>
                    <a:pt x="297" y="4"/>
                  </a:cubicBezTo>
                  <a:cubicBezTo>
                    <a:pt x="295" y="3"/>
                    <a:pt x="294" y="3"/>
                    <a:pt x="292" y="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6" y="4"/>
                    <a:pt x="285" y="3"/>
                    <a:pt x="283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283" y="2"/>
                    <a:pt x="290" y="2"/>
                    <a:pt x="298" y="3"/>
                  </a:cubicBezTo>
                  <a:cubicBezTo>
                    <a:pt x="302" y="3"/>
                    <a:pt x="307" y="4"/>
                    <a:pt x="311" y="4"/>
                  </a:cubicBezTo>
                  <a:cubicBezTo>
                    <a:pt x="315" y="5"/>
                    <a:pt x="318" y="6"/>
                    <a:pt x="322" y="6"/>
                  </a:cubicBezTo>
                  <a:cubicBezTo>
                    <a:pt x="322" y="6"/>
                    <a:pt x="322" y="6"/>
                    <a:pt x="322" y="6"/>
                  </a:cubicBezTo>
                  <a:cubicBezTo>
                    <a:pt x="318" y="5"/>
                    <a:pt x="314" y="4"/>
                    <a:pt x="310" y="4"/>
                  </a:cubicBezTo>
                  <a:cubicBezTo>
                    <a:pt x="306" y="3"/>
                    <a:pt x="302" y="3"/>
                    <a:pt x="299" y="3"/>
                  </a:cubicBezTo>
                  <a:cubicBezTo>
                    <a:pt x="299" y="3"/>
                    <a:pt x="298" y="2"/>
                    <a:pt x="297" y="2"/>
                  </a:cubicBezTo>
                  <a:cubicBezTo>
                    <a:pt x="296" y="2"/>
                    <a:pt x="295" y="2"/>
                    <a:pt x="294" y="1"/>
                  </a:cubicBezTo>
                  <a:cubicBezTo>
                    <a:pt x="293" y="1"/>
                    <a:pt x="293" y="1"/>
                    <a:pt x="294" y="0"/>
                  </a:cubicBezTo>
                  <a:cubicBezTo>
                    <a:pt x="290" y="1"/>
                    <a:pt x="290" y="1"/>
                    <a:pt x="290" y="1"/>
                  </a:cubicBezTo>
                  <a:cubicBezTo>
                    <a:pt x="283" y="0"/>
                    <a:pt x="278" y="0"/>
                    <a:pt x="274" y="0"/>
                  </a:cubicBezTo>
                  <a:cubicBezTo>
                    <a:pt x="269" y="0"/>
                    <a:pt x="266" y="0"/>
                    <a:pt x="262" y="0"/>
                  </a:cubicBezTo>
                  <a:cubicBezTo>
                    <a:pt x="261" y="0"/>
                    <a:pt x="259" y="0"/>
                    <a:pt x="257" y="0"/>
                  </a:cubicBezTo>
                  <a:cubicBezTo>
                    <a:pt x="255" y="0"/>
                    <a:pt x="253" y="0"/>
                    <a:pt x="251" y="0"/>
                  </a:cubicBezTo>
                  <a:cubicBezTo>
                    <a:pt x="248" y="1"/>
                    <a:pt x="246" y="1"/>
                    <a:pt x="243" y="1"/>
                  </a:cubicBezTo>
                  <a:cubicBezTo>
                    <a:pt x="240" y="1"/>
                    <a:pt x="237" y="1"/>
                    <a:pt x="234" y="2"/>
                  </a:cubicBezTo>
                  <a:cubicBezTo>
                    <a:pt x="236" y="2"/>
                    <a:pt x="236" y="2"/>
                    <a:pt x="236" y="2"/>
                  </a:cubicBezTo>
                  <a:cubicBezTo>
                    <a:pt x="233" y="2"/>
                    <a:pt x="231" y="3"/>
                    <a:pt x="228" y="3"/>
                  </a:cubicBezTo>
                  <a:cubicBezTo>
                    <a:pt x="226" y="3"/>
                    <a:pt x="224" y="4"/>
                    <a:pt x="223" y="3"/>
                  </a:cubicBezTo>
                  <a:cubicBezTo>
                    <a:pt x="206" y="6"/>
                    <a:pt x="189" y="11"/>
                    <a:pt x="178" y="13"/>
                  </a:cubicBezTo>
                  <a:cubicBezTo>
                    <a:pt x="177" y="14"/>
                    <a:pt x="177" y="15"/>
                    <a:pt x="176" y="15"/>
                  </a:cubicBezTo>
                  <a:cubicBezTo>
                    <a:pt x="173" y="16"/>
                    <a:pt x="167" y="17"/>
                    <a:pt x="166" y="19"/>
                  </a:cubicBezTo>
                  <a:cubicBezTo>
                    <a:pt x="164" y="20"/>
                    <a:pt x="161" y="21"/>
                    <a:pt x="159" y="23"/>
                  </a:cubicBezTo>
                  <a:cubicBezTo>
                    <a:pt x="157" y="24"/>
                    <a:pt x="155" y="25"/>
                    <a:pt x="153" y="26"/>
                  </a:cubicBezTo>
                  <a:cubicBezTo>
                    <a:pt x="151" y="27"/>
                    <a:pt x="149" y="28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41" y="31"/>
                    <a:pt x="141" y="32"/>
                    <a:pt x="141" y="32"/>
                  </a:cubicBezTo>
                  <a:cubicBezTo>
                    <a:pt x="141" y="32"/>
                    <a:pt x="140" y="33"/>
                    <a:pt x="135" y="35"/>
                  </a:cubicBezTo>
                  <a:cubicBezTo>
                    <a:pt x="133" y="36"/>
                    <a:pt x="132" y="37"/>
                    <a:pt x="131" y="38"/>
                  </a:cubicBezTo>
                  <a:cubicBezTo>
                    <a:pt x="130" y="39"/>
                    <a:pt x="129" y="41"/>
                    <a:pt x="126" y="4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5" y="47"/>
                    <a:pt x="112" y="49"/>
                    <a:pt x="109" y="52"/>
                  </a:cubicBezTo>
                  <a:cubicBezTo>
                    <a:pt x="108" y="53"/>
                    <a:pt x="106" y="55"/>
                    <a:pt x="104" y="56"/>
                  </a:cubicBezTo>
                  <a:cubicBezTo>
                    <a:pt x="103" y="57"/>
                    <a:pt x="102" y="58"/>
                    <a:pt x="101" y="59"/>
                  </a:cubicBezTo>
                  <a:cubicBezTo>
                    <a:pt x="100" y="60"/>
                    <a:pt x="99" y="60"/>
                    <a:pt x="99" y="61"/>
                  </a:cubicBezTo>
                  <a:cubicBezTo>
                    <a:pt x="98" y="61"/>
                    <a:pt x="97" y="62"/>
                    <a:pt x="96" y="63"/>
                  </a:cubicBezTo>
                  <a:cubicBezTo>
                    <a:pt x="90" y="67"/>
                    <a:pt x="86" y="69"/>
                    <a:pt x="89" y="65"/>
                  </a:cubicBezTo>
                  <a:cubicBezTo>
                    <a:pt x="87" y="68"/>
                    <a:pt x="87" y="68"/>
                    <a:pt x="86" y="69"/>
                  </a:cubicBezTo>
                  <a:cubicBezTo>
                    <a:pt x="85" y="70"/>
                    <a:pt x="84" y="71"/>
                    <a:pt x="81" y="75"/>
                  </a:cubicBezTo>
                  <a:cubicBezTo>
                    <a:pt x="80" y="75"/>
                    <a:pt x="80" y="74"/>
                    <a:pt x="81" y="73"/>
                  </a:cubicBezTo>
                  <a:cubicBezTo>
                    <a:pt x="80" y="74"/>
                    <a:pt x="79" y="75"/>
                    <a:pt x="78" y="76"/>
                  </a:cubicBezTo>
                  <a:cubicBezTo>
                    <a:pt x="77" y="76"/>
                    <a:pt x="77" y="77"/>
                    <a:pt x="77" y="77"/>
                  </a:cubicBezTo>
                  <a:cubicBezTo>
                    <a:pt x="76" y="78"/>
                    <a:pt x="76" y="79"/>
                    <a:pt x="73" y="81"/>
                  </a:cubicBezTo>
                  <a:cubicBezTo>
                    <a:pt x="73" y="83"/>
                    <a:pt x="73" y="86"/>
                    <a:pt x="72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3" y="87"/>
                    <a:pt x="72" y="88"/>
                    <a:pt x="72" y="88"/>
                  </a:cubicBezTo>
                  <a:cubicBezTo>
                    <a:pt x="71" y="89"/>
                    <a:pt x="71" y="90"/>
                    <a:pt x="70" y="90"/>
                  </a:cubicBezTo>
                  <a:cubicBezTo>
                    <a:pt x="69" y="92"/>
                    <a:pt x="68" y="93"/>
                    <a:pt x="67" y="95"/>
                  </a:cubicBezTo>
                  <a:cubicBezTo>
                    <a:pt x="66" y="96"/>
                    <a:pt x="65" y="97"/>
                    <a:pt x="63" y="99"/>
                  </a:cubicBezTo>
                  <a:cubicBezTo>
                    <a:pt x="62" y="100"/>
                    <a:pt x="61" y="102"/>
                    <a:pt x="6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1" y="113"/>
                    <a:pt x="49" y="116"/>
                    <a:pt x="47" y="119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7" y="119"/>
                    <a:pt x="46" y="122"/>
                    <a:pt x="44" y="125"/>
                  </a:cubicBezTo>
                  <a:cubicBezTo>
                    <a:pt x="43" y="126"/>
                    <a:pt x="42" y="128"/>
                    <a:pt x="41" y="129"/>
                  </a:cubicBezTo>
                  <a:cubicBezTo>
                    <a:pt x="40" y="130"/>
                    <a:pt x="39" y="132"/>
                    <a:pt x="3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0" y="145"/>
                    <a:pt x="26" y="156"/>
                    <a:pt x="20" y="173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3"/>
                    <a:pt x="18" y="173"/>
                    <a:pt x="19" y="174"/>
                  </a:cubicBezTo>
                  <a:cubicBezTo>
                    <a:pt x="19" y="175"/>
                    <a:pt x="19" y="175"/>
                    <a:pt x="17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82"/>
                    <a:pt x="15" y="184"/>
                    <a:pt x="14" y="185"/>
                  </a:cubicBezTo>
                  <a:cubicBezTo>
                    <a:pt x="14" y="186"/>
                    <a:pt x="14" y="187"/>
                    <a:pt x="13" y="188"/>
                  </a:cubicBezTo>
                  <a:cubicBezTo>
                    <a:pt x="13" y="188"/>
                    <a:pt x="12" y="189"/>
                    <a:pt x="12" y="190"/>
                  </a:cubicBezTo>
                  <a:cubicBezTo>
                    <a:pt x="14" y="189"/>
                    <a:pt x="14" y="189"/>
                    <a:pt x="14" y="189"/>
                  </a:cubicBezTo>
                  <a:cubicBezTo>
                    <a:pt x="11" y="196"/>
                    <a:pt x="11" y="196"/>
                    <a:pt x="11" y="196"/>
                  </a:cubicBezTo>
                  <a:cubicBezTo>
                    <a:pt x="10" y="198"/>
                    <a:pt x="10" y="200"/>
                    <a:pt x="9" y="201"/>
                  </a:cubicBezTo>
                  <a:cubicBezTo>
                    <a:pt x="9" y="201"/>
                    <a:pt x="9" y="202"/>
                    <a:pt x="8" y="202"/>
                  </a:cubicBezTo>
                  <a:cubicBezTo>
                    <a:pt x="8" y="202"/>
                    <a:pt x="8" y="200"/>
                    <a:pt x="8" y="200"/>
                  </a:cubicBezTo>
                  <a:cubicBezTo>
                    <a:pt x="7" y="202"/>
                    <a:pt x="7" y="204"/>
                    <a:pt x="7" y="206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6" y="212"/>
                    <a:pt x="4" y="211"/>
                    <a:pt x="4" y="219"/>
                  </a:cubicBezTo>
                  <a:cubicBezTo>
                    <a:pt x="3" y="220"/>
                    <a:pt x="3" y="218"/>
                    <a:pt x="3" y="220"/>
                  </a:cubicBezTo>
                  <a:cubicBezTo>
                    <a:pt x="2" y="227"/>
                    <a:pt x="2" y="227"/>
                    <a:pt x="2" y="227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3" y="231"/>
                    <a:pt x="3" y="228"/>
                    <a:pt x="3" y="225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4" y="231"/>
                    <a:pt x="4" y="233"/>
                    <a:pt x="4" y="236"/>
                  </a:cubicBezTo>
                  <a:cubicBezTo>
                    <a:pt x="3" y="238"/>
                    <a:pt x="3" y="240"/>
                    <a:pt x="3" y="243"/>
                  </a:cubicBezTo>
                  <a:cubicBezTo>
                    <a:pt x="3" y="242"/>
                    <a:pt x="2" y="240"/>
                    <a:pt x="2" y="239"/>
                  </a:cubicBezTo>
                  <a:cubicBezTo>
                    <a:pt x="2" y="244"/>
                    <a:pt x="2" y="246"/>
                    <a:pt x="2" y="248"/>
                  </a:cubicBezTo>
                  <a:cubicBezTo>
                    <a:pt x="1" y="250"/>
                    <a:pt x="1" y="252"/>
                    <a:pt x="1" y="254"/>
                  </a:cubicBezTo>
                  <a:cubicBezTo>
                    <a:pt x="1" y="253"/>
                    <a:pt x="2" y="250"/>
                    <a:pt x="2" y="254"/>
                  </a:cubicBezTo>
                  <a:cubicBezTo>
                    <a:pt x="2" y="257"/>
                    <a:pt x="1" y="255"/>
                    <a:pt x="1" y="258"/>
                  </a:cubicBezTo>
                  <a:cubicBezTo>
                    <a:pt x="1" y="258"/>
                    <a:pt x="2" y="260"/>
                    <a:pt x="2" y="263"/>
                  </a:cubicBezTo>
                  <a:cubicBezTo>
                    <a:pt x="2" y="264"/>
                    <a:pt x="2" y="265"/>
                    <a:pt x="2" y="267"/>
                  </a:cubicBezTo>
                  <a:cubicBezTo>
                    <a:pt x="2" y="268"/>
                    <a:pt x="2" y="270"/>
                    <a:pt x="2" y="272"/>
                  </a:cubicBezTo>
                  <a:cubicBezTo>
                    <a:pt x="2" y="271"/>
                    <a:pt x="1" y="271"/>
                    <a:pt x="1" y="271"/>
                  </a:cubicBezTo>
                  <a:cubicBezTo>
                    <a:pt x="2" y="272"/>
                    <a:pt x="2" y="273"/>
                    <a:pt x="2" y="27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80"/>
                    <a:pt x="2" y="280"/>
                    <a:pt x="2" y="280"/>
                  </a:cubicBezTo>
                  <a:cubicBezTo>
                    <a:pt x="2" y="281"/>
                    <a:pt x="2" y="283"/>
                    <a:pt x="2" y="285"/>
                  </a:cubicBezTo>
                  <a:cubicBezTo>
                    <a:pt x="2" y="287"/>
                    <a:pt x="2" y="288"/>
                    <a:pt x="2" y="288"/>
                  </a:cubicBezTo>
                  <a:cubicBezTo>
                    <a:pt x="2" y="286"/>
                    <a:pt x="2" y="286"/>
                    <a:pt x="2" y="286"/>
                  </a:cubicBezTo>
                  <a:cubicBezTo>
                    <a:pt x="2" y="295"/>
                    <a:pt x="3" y="303"/>
                    <a:pt x="4" y="312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4" y="314"/>
                    <a:pt x="5" y="317"/>
                    <a:pt x="5" y="320"/>
                  </a:cubicBezTo>
                  <a:cubicBezTo>
                    <a:pt x="5" y="322"/>
                    <a:pt x="6" y="323"/>
                    <a:pt x="6" y="324"/>
                  </a:cubicBezTo>
                  <a:cubicBezTo>
                    <a:pt x="6" y="325"/>
                    <a:pt x="7" y="326"/>
                    <a:pt x="7" y="326"/>
                  </a:cubicBezTo>
                  <a:cubicBezTo>
                    <a:pt x="7" y="327"/>
                    <a:pt x="7" y="329"/>
                    <a:pt x="8" y="331"/>
                  </a:cubicBezTo>
                  <a:cubicBezTo>
                    <a:pt x="8" y="333"/>
                    <a:pt x="9" y="335"/>
                    <a:pt x="9" y="337"/>
                  </a:cubicBezTo>
                  <a:cubicBezTo>
                    <a:pt x="11" y="340"/>
                    <a:pt x="11" y="343"/>
                    <a:pt x="10" y="342"/>
                  </a:cubicBezTo>
                  <a:cubicBezTo>
                    <a:pt x="10" y="344"/>
                    <a:pt x="11" y="346"/>
                    <a:pt x="12" y="348"/>
                  </a:cubicBezTo>
                  <a:cubicBezTo>
                    <a:pt x="12" y="350"/>
                    <a:pt x="13" y="352"/>
                    <a:pt x="14" y="353"/>
                  </a:cubicBezTo>
                  <a:cubicBezTo>
                    <a:pt x="15" y="357"/>
                    <a:pt x="16" y="360"/>
                    <a:pt x="18" y="363"/>
                  </a:cubicBezTo>
                  <a:cubicBezTo>
                    <a:pt x="19" y="367"/>
                    <a:pt x="21" y="370"/>
                    <a:pt x="22" y="374"/>
                  </a:cubicBezTo>
                  <a:cubicBezTo>
                    <a:pt x="23" y="376"/>
                    <a:pt x="24" y="378"/>
                    <a:pt x="25" y="380"/>
                  </a:cubicBezTo>
                  <a:cubicBezTo>
                    <a:pt x="26" y="382"/>
                    <a:pt x="27" y="384"/>
                    <a:pt x="28" y="387"/>
                  </a:cubicBezTo>
                  <a:cubicBezTo>
                    <a:pt x="29" y="390"/>
                    <a:pt x="32" y="397"/>
                    <a:pt x="35" y="404"/>
                  </a:cubicBezTo>
                  <a:cubicBezTo>
                    <a:pt x="36" y="405"/>
                    <a:pt x="37" y="407"/>
                    <a:pt x="38" y="409"/>
                  </a:cubicBezTo>
                  <a:cubicBezTo>
                    <a:pt x="40" y="410"/>
                    <a:pt x="41" y="412"/>
                    <a:pt x="42" y="414"/>
                  </a:cubicBezTo>
                  <a:cubicBezTo>
                    <a:pt x="43" y="416"/>
                    <a:pt x="44" y="417"/>
                    <a:pt x="45" y="419"/>
                  </a:cubicBezTo>
                  <a:cubicBezTo>
                    <a:pt x="46" y="420"/>
                    <a:pt x="47" y="422"/>
                    <a:pt x="48" y="423"/>
                  </a:cubicBezTo>
                  <a:cubicBezTo>
                    <a:pt x="56" y="434"/>
                    <a:pt x="63" y="442"/>
                    <a:pt x="71" y="450"/>
                  </a:cubicBezTo>
                  <a:cubicBezTo>
                    <a:pt x="73" y="452"/>
                    <a:pt x="75" y="454"/>
                    <a:pt x="77" y="456"/>
                  </a:cubicBezTo>
                  <a:cubicBezTo>
                    <a:pt x="78" y="457"/>
                    <a:pt x="79" y="458"/>
                    <a:pt x="80" y="459"/>
                  </a:cubicBezTo>
                  <a:cubicBezTo>
                    <a:pt x="81" y="460"/>
                    <a:pt x="82" y="461"/>
                    <a:pt x="83" y="462"/>
                  </a:cubicBezTo>
                  <a:cubicBezTo>
                    <a:pt x="85" y="464"/>
                    <a:pt x="87" y="466"/>
                    <a:pt x="90" y="468"/>
                  </a:cubicBezTo>
                  <a:cubicBezTo>
                    <a:pt x="92" y="470"/>
                    <a:pt x="94" y="472"/>
                    <a:pt x="97" y="474"/>
                  </a:cubicBezTo>
                  <a:cubicBezTo>
                    <a:pt x="98" y="476"/>
                    <a:pt x="100" y="477"/>
                    <a:pt x="102" y="478"/>
                  </a:cubicBezTo>
                  <a:cubicBezTo>
                    <a:pt x="103" y="480"/>
                    <a:pt x="105" y="482"/>
                    <a:pt x="107" y="483"/>
                  </a:cubicBezTo>
                  <a:cubicBezTo>
                    <a:pt x="109" y="485"/>
                    <a:pt x="111" y="486"/>
                    <a:pt x="113" y="487"/>
                  </a:cubicBezTo>
                  <a:cubicBezTo>
                    <a:pt x="115" y="489"/>
                    <a:pt x="117" y="490"/>
                    <a:pt x="119" y="492"/>
                  </a:cubicBezTo>
                  <a:cubicBezTo>
                    <a:pt x="122" y="493"/>
                    <a:pt x="124" y="494"/>
                    <a:pt x="126" y="496"/>
                  </a:cubicBezTo>
                  <a:cubicBezTo>
                    <a:pt x="128" y="497"/>
                    <a:pt x="131" y="498"/>
                    <a:pt x="133" y="499"/>
                  </a:cubicBezTo>
                  <a:cubicBezTo>
                    <a:pt x="137" y="502"/>
                    <a:pt x="141" y="504"/>
                    <a:pt x="145" y="507"/>
                  </a:cubicBezTo>
                  <a:cubicBezTo>
                    <a:pt x="150" y="508"/>
                    <a:pt x="150" y="508"/>
                    <a:pt x="150" y="508"/>
                  </a:cubicBezTo>
                  <a:cubicBezTo>
                    <a:pt x="151" y="509"/>
                    <a:pt x="152" y="510"/>
                    <a:pt x="154" y="510"/>
                  </a:cubicBezTo>
                  <a:cubicBezTo>
                    <a:pt x="155" y="511"/>
                    <a:pt x="157" y="512"/>
                    <a:pt x="158" y="513"/>
                  </a:cubicBezTo>
                  <a:cubicBezTo>
                    <a:pt x="161" y="514"/>
                    <a:pt x="165" y="516"/>
                    <a:pt x="169" y="517"/>
                  </a:cubicBezTo>
                  <a:cubicBezTo>
                    <a:pt x="176" y="520"/>
                    <a:pt x="184" y="523"/>
                    <a:pt x="192" y="526"/>
                  </a:cubicBezTo>
                  <a:cubicBezTo>
                    <a:pt x="196" y="527"/>
                    <a:pt x="198" y="527"/>
                    <a:pt x="199" y="527"/>
                  </a:cubicBezTo>
                  <a:cubicBezTo>
                    <a:pt x="198" y="527"/>
                    <a:pt x="197" y="527"/>
                    <a:pt x="197" y="526"/>
                  </a:cubicBezTo>
                  <a:cubicBezTo>
                    <a:pt x="199" y="527"/>
                    <a:pt x="202" y="528"/>
                    <a:pt x="205" y="528"/>
                  </a:cubicBezTo>
                  <a:cubicBezTo>
                    <a:pt x="208" y="529"/>
                    <a:pt x="210" y="530"/>
                    <a:pt x="209" y="530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1"/>
                    <a:pt x="211" y="531"/>
                    <a:pt x="215" y="532"/>
                  </a:cubicBezTo>
                  <a:cubicBezTo>
                    <a:pt x="220" y="533"/>
                    <a:pt x="225" y="533"/>
                    <a:pt x="227" y="534"/>
                  </a:cubicBezTo>
                  <a:cubicBezTo>
                    <a:pt x="225" y="533"/>
                    <a:pt x="225" y="533"/>
                    <a:pt x="225" y="533"/>
                  </a:cubicBezTo>
                  <a:cubicBezTo>
                    <a:pt x="229" y="533"/>
                    <a:pt x="229" y="533"/>
                    <a:pt x="229" y="533"/>
                  </a:cubicBezTo>
                  <a:cubicBezTo>
                    <a:pt x="233" y="534"/>
                    <a:pt x="233" y="534"/>
                    <a:pt x="233" y="534"/>
                  </a:cubicBezTo>
                  <a:cubicBezTo>
                    <a:pt x="231" y="534"/>
                    <a:pt x="231" y="534"/>
                    <a:pt x="231" y="534"/>
                  </a:cubicBezTo>
                  <a:cubicBezTo>
                    <a:pt x="233" y="534"/>
                    <a:pt x="236" y="534"/>
                    <a:pt x="238" y="534"/>
                  </a:cubicBezTo>
                  <a:cubicBezTo>
                    <a:pt x="240" y="535"/>
                    <a:pt x="242" y="535"/>
                    <a:pt x="244" y="535"/>
                  </a:cubicBezTo>
                  <a:cubicBezTo>
                    <a:pt x="249" y="535"/>
                    <a:pt x="252" y="535"/>
                    <a:pt x="256" y="535"/>
                  </a:cubicBezTo>
                  <a:cubicBezTo>
                    <a:pt x="260" y="536"/>
                    <a:pt x="264" y="536"/>
                    <a:pt x="267" y="536"/>
                  </a:cubicBezTo>
                  <a:cubicBezTo>
                    <a:pt x="268" y="536"/>
                    <a:pt x="269" y="536"/>
                    <a:pt x="270" y="536"/>
                  </a:cubicBezTo>
                  <a:cubicBezTo>
                    <a:pt x="271" y="536"/>
                    <a:pt x="271" y="536"/>
                    <a:pt x="272" y="536"/>
                  </a:cubicBezTo>
                  <a:cubicBezTo>
                    <a:pt x="274" y="536"/>
                    <a:pt x="276" y="536"/>
                    <a:pt x="277" y="536"/>
                  </a:cubicBezTo>
                  <a:cubicBezTo>
                    <a:pt x="291" y="536"/>
                    <a:pt x="304" y="535"/>
                    <a:pt x="322" y="530"/>
                  </a:cubicBezTo>
                  <a:cubicBezTo>
                    <a:pt x="320" y="531"/>
                    <a:pt x="321" y="531"/>
                    <a:pt x="324" y="530"/>
                  </a:cubicBezTo>
                  <a:cubicBezTo>
                    <a:pt x="326" y="530"/>
                    <a:pt x="329" y="529"/>
                    <a:pt x="329" y="530"/>
                  </a:cubicBezTo>
                  <a:cubicBezTo>
                    <a:pt x="332" y="530"/>
                    <a:pt x="334" y="529"/>
                    <a:pt x="336" y="529"/>
                  </a:cubicBezTo>
                  <a:cubicBezTo>
                    <a:pt x="338" y="528"/>
                    <a:pt x="340" y="528"/>
                    <a:pt x="342" y="527"/>
                  </a:cubicBezTo>
                  <a:cubicBezTo>
                    <a:pt x="346" y="525"/>
                    <a:pt x="349" y="524"/>
                    <a:pt x="352" y="522"/>
                  </a:cubicBezTo>
                  <a:cubicBezTo>
                    <a:pt x="352" y="522"/>
                    <a:pt x="352" y="522"/>
                    <a:pt x="353" y="522"/>
                  </a:cubicBezTo>
                  <a:cubicBezTo>
                    <a:pt x="359" y="520"/>
                    <a:pt x="359" y="520"/>
                    <a:pt x="359" y="520"/>
                  </a:cubicBezTo>
                  <a:cubicBezTo>
                    <a:pt x="360" y="519"/>
                    <a:pt x="361" y="519"/>
                    <a:pt x="362" y="519"/>
                  </a:cubicBezTo>
                  <a:cubicBezTo>
                    <a:pt x="365" y="518"/>
                    <a:pt x="365" y="518"/>
                    <a:pt x="365" y="518"/>
                  </a:cubicBezTo>
                  <a:cubicBezTo>
                    <a:pt x="359" y="522"/>
                    <a:pt x="373" y="513"/>
                    <a:pt x="367" y="517"/>
                  </a:cubicBezTo>
                  <a:cubicBezTo>
                    <a:pt x="383" y="511"/>
                    <a:pt x="401" y="503"/>
                    <a:pt x="417" y="491"/>
                  </a:cubicBezTo>
                  <a:cubicBezTo>
                    <a:pt x="434" y="480"/>
                    <a:pt x="450" y="467"/>
                    <a:pt x="464" y="453"/>
                  </a:cubicBezTo>
                  <a:cubicBezTo>
                    <a:pt x="462" y="454"/>
                    <a:pt x="462" y="454"/>
                    <a:pt x="462" y="454"/>
                  </a:cubicBezTo>
                  <a:cubicBezTo>
                    <a:pt x="464" y="452"/>
                    <a:pt x="466" y="450"/>
                    <a:pt x="468" y="448"/>
                  </a:cubicBezTo>
                  <a:cubicBezTo>
                    <a:pt x="469" y="446"/>
                    <a:pt x="471" y="444"/>
                    <a:pt x="473" y="442"/>
                  </a:cubicBezTo>
                  <a:cubicBezTo>
                    <a:pt x="476" y="438"/>
                    <a:pt x="479" y="434"/>
                    <a:pt x="482" y="431"/>
                  </a:cubicBezTo>
                  <a:cubicBezTo>
                    <a:pt x="485" y="429"/>
                    <a:pt x="487" y="425"/>
                    <a:pt x="488" y="422"/>
                  </a:cubicBezTo>
                  <a:cubicBezTo>
                    <a:pt x="489" y="420"/>
                    <a:pt x="490" y="419"/>
                    <a:pt x="491" y="418"/>
                  </a:cubicBezTo>
                  <a:cubicBezTo>
                    <a:pt x="491" y="416"/>
                    <a:pt x="492" y="415"/>
                    <a:pt x="492" y="415"/>
                  </a:cubicBezTo>
                  <a:cubicBezTo>
                    <a:pt x="494" y="411"/>
                    <a:pt x="496" y="408"/>
                    <a:pt x="498" y="406"/>
                  </a:cubicBezTo>
                  <a:cubicBezTo>
                    <a:pt x="499" y="404"/>
                    <a:pt x="500" y="403"/>
                    <a:pt x="499" y="405"/>
                  </a:cubicBezTo>
                  <a:cubicBezTo>
                    <a:pt x="503" y="397"/>
                    <a:pt x="506" y="389"/>
                    <a:pt x="512" y="378"/>
                  </a:cubicBezTo>
                  <a:cubicBezTo>
                    <a:pt x="512" y="378"/>
                    <a:pt x="514" y="375"/>
                    <a:pt x="515" y="372"/>
                  </a:cubicBezTo>
                  <a:cubicBezTo>
                    <a:pt x="516" y="369"/>
                    <a:pt x="517" y="365"/>
                    <a:pt x="519" y="362"/>
                  </a:cubicBezTo>
                  <a:cubicBezTo>
                    <a:pt x="519" y="360"/>
                    <a:pt x="520" y="358"/>
                    <a:pt x="520" y="356"/>
                  </a:cubicBezTo>
                  <a:cubicBezTo>
                    <a:pt x="521" y="354"/>
                    <a:pt x="521" y="353"/>
                    <a:pt x="522" y="351"/>
                  </a:cubicBezTo>
                  <a:cubicBezTo>
                    <a:pt x="523" y="349"/>
                    <a:pt x="523" y="347"/>
                    <a:pt x="524" y="347"/>
                  </a:cubicBezTo>
                  <a:cubicBezTo>
                    <a:pt x="524" y="347"/>
                    <a:pt x="524" y="347"/>
                    <a:pt x="524" y="347"/>
                  </a:cubicBezTo>
                  <a:cubicBezTo>
                    <a:pt x="525" y="343"/>
                    <a:pt x="526" y="340"/>
                    <a:pt x="527" y="336"/>
                  </a:cubicBezTo>
                  <a:cubicBezTo>
                    <a:pt x="528" y="334"/>
                    <a:pt x="528" y="332"/>
                    <a:pt x="529" y="330"/>
                  </a:cubicBezTo>
                  <a:cubicBezTo>
                    <a:pt x="529" y="328"/>
                    <a:pt x="529" y="327"/>
                    <a:pt x="530" y="325"/>
                  </a:cubicBezTo>
                  <a:cubicBezTo>
                    <a:pt x="530" y="324"/>
                    <a:pt x="530" y="323"/>
                    <a:pt x="530" y="322"/>
                  </a:cubicBezTo>
                  <a:cubicBezTo>
                    <a:pt x="531" y="321"/>
                    <a:pt x="531" y="320"/>
                    <a:pt x="531" y="319"/>
                  </a:cubicBezTo>
                  <a:cubicBezTo>
                    <a:pt x="531" y="317"/>
                    <a:pt x="531" y="315"/>
                    <a:pt x="532" y="313"/>
                  </a:cubicBezTo>
                  <a:cubicBezTo>
                    <a:pt x="532" y="311"/>
                    <a:pt x="533" y="309"/>
                    <a:pt x="533" y="307"/>
                  </a:cubicBezTo>
                  <a:cubicBezTo>
                    <a:pt x="533" y="305"/>
                    <a:pt x="534" y="303"/>
                    <a:pt x="534" y="301"/>
                  </a:cubicBezTo>
                  <a:cubicBezTo>
                    <a:pt x="534" y="301"/>
                    <a:pt x="534" y="301"/>
                    <a:pt x="534" y="302"/>
                  </a:cubicBezTo>
                  <a:cubicBezTo>
                    <a:pt x="534" y="290"/>
                    <a:pt x="532" y="279"/>
                    <a:pt x="531" y="268"/>
                  </a:cubicBezTo>
                  <a:close/>
                </a:path>
              </a:pathLst>
            </a:custGeom>
            <a:solidFill>
              <a:srgbClr val="D42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676860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47443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9" y="1881187"/>
            <a:ext cx="447000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01DDF432-B9B5-4DE1-B08C-F223EAD1B1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16998" y="1881187"/>
            <a:ext cx="4470000" cy="4030633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C291F29-2F98-BD4D-B042-0C72D579864D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EF174A2-A12A-574C-A29E-3FE1A83AA8A7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29AAED-C026-A74D-986A-D99794BFEDDD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6D938D5A-7424-0143-BFE0-7A42485AF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reeform 10">
            <a:extLst>
              <a:ext uri="{FF2B5EF4-FFF2-40B4-BE49-F238E27FC236}">
                <a16:creationId xmlns:a16="http://schemas.microsoft.com/office/drawing/2014/main" id="{32D960A5-D29A-6E45-9108-545E39421755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219125" y="2512575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20" name="Text Placeholder 2078">
            <a:extLst>
              <a:ext uri="{FF2B5EF4-FFF2-40B4-BE49-F238E27FC236}">
                <a16:creationId xmlns:a16="http://schemas.microsoft.com/office/drawing/2014/main" id="{7C970063-30E0-2145-B5EC-FC65EB533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B4BE04A-9C7A-0046-9763-BD3EC29C8549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</p:spTree>
    <p:extLst>
      <p:ext uri="{BB962C8B-B14F-4D97-AF65-F5344CB8AC3E}">
        <p14:creationId xmlns:p14="http://schemas.microsoft.com/office/powerpoint/2010/main" val="34581033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DD9A7-09FE-4E1B-A672-CED018A03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D9F97E7-AF54-478A-8D95-C8620B9F33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6229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2438D5FC-2476-0A46-A2EB-2A98A4DD339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44024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610011F6-F675-6840-9708-401C204F3C1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180127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0ED1A813-F7A6-AE4B-9D82-F67B6FF7938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248178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16FF5066-E10B-1049-8991-D45A0FA1417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2076" y="2688000"/>
            <a:ext cx="1544321" cy="3215577"/>
          </a:xfrm>
        </p:spPr>
        <p:txBody>
          <a:bodyPr>
            <a:noAutofit/>
          </a:bodyPr>
          <a:lstStyle>
            <a:lvl1pPr marL="0" marR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  <a:lvl2pPr marL="143996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2"/>
                </a:solidFill>
              </a:defRPr>
            </a:lvl2pPr>
            <a:lvl3pPr marL="287991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>
                <a:solidFill>
                  <a:schemeClr val="tx2"/>
                </a:solidFill>
              </a:defRPr>
            </a:lvl3pPr>
            <a:lvl4pPr marL="431988" marR="0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143996" marR="0" lvl="1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4</a:t>
            </a:r>
          </a:p>
          <a:p>
            <a:pPr marL="287991" marR="0" lvl="2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Monaco" pitchFamily="2" charset="77"/>
              <a:buChar char="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ntserrat Medium Point Size 12</a:t>
            </a:r>
          </a:p>
          <a:p>
            <a:pPr marL="431988" marR="0" lvl="3" indent="-143996" algn="l" defTabSz="91437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stem Font Regular"/>
              <a:buChar char="»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Montserrat Light Point Size 12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4E4587C-B5BC-7048-ACB5-16EDADF34F32}"/>
              </a:ext>
            </a:extLst>
          </p:cNvPr>
          <p:cNvGrpSpPr/>
          <p:nvPr userDrawn="1"/>
        </p:nvGrpSpPr>
        <p:grpSpPr>
          <a:xfrm>
            <a:off x="337062" y="365496"/>
            <a:ext cx="2576121" cy="184666"/>
            <a:chOff x="446350" y="402893"/>
            <a:chExt cx="2780477" cy="203560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D3D725F4-CA55-DE4D-B394-3680A91C83F4}"/>
                </a:ext>
              </a:extLst>
            </p:cNvPr>
            <p:cNvCxnSpPr/>
            <p:nvPr userDrawn="1"/>
          </p:nvCxnSpPr>
          <p:spPr>
            <a:xfrm>
              <a:off x="446350" y="428178"/>
              <a:ext cx="0" cy="119050"/>
            </a:xfrm>
            <a:prstGeom prst="line">
              <a:avLst/>
            </a:prstGeom>
            <a:ln w="317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4D13661-50B5-CE46-AA16-05ACFEFA18B6}"/>
                </a:ext>
              </a:extLst>
            </p:cNvPr>
            <p:cNvSpPr txBox="1"/>
            <p:nvPr userDrawn="1"/>
          </p:nvSpPr>
          <p:spPr>
            <a:xfrm>
              <a:off x="524310" y="402893"/>
              <a:ext cx="2702517" cy="2035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AU" sz="1200" b="1" i="0" dirty="0">
                  <a:solidFill>
                    <a:schemeClr val="tx2"/>
                  </a:solidFill>
                  <a:latin typeface="Montserrat SemiBold" pitchFamily="2" charset="77"/>
                </a:rPr>
                <a:t>NSW Department of Education</a:t>
              </a:r>
            </a:p>
          </p:txBody>
        </p:sp>
      </p:grp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2F16BA9C-13E9-FC4C-BA2C-62CFD65892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Text Placeholder 2078">
            <a:extLst>
              <a:ext uri="{FF2B5EF4-FFF2-40B4-BE49-F238E27FC236}">
                <a16:creationId xmlns:a16="http://schemas.microsoft.com/office/drawing/2014/main" id="{295CE878-10FC-2045-AE94-9F26953049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27" y="1175566"/>
            <a:ext cx="9290109" cy="276999"/>
          </a:xfrm>
        </p:spPr>
        <p:txBody>
          <a:bodyPr wrap="square">
            <a:noAutofit/>
          </a:bodyPr>
          <a:lstStyle>
            <a:lvl1pPr>
              <a:defRPr sz="18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1" name="Text Placeholder 2078">
            <a:extLst>
              <a:ext uri="{FF2B5EF4-FFF2-40B4-BE49-F238E27FC236}">
                <a16:creationId xmlns:a16="http://schemas.microsoft.com/office/drawing/2014/main" id="{0614C45B-2F80-0C4A-8F10-5D624FBA5C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226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078">
            <a:extLst>
              <a:ext uri="{FF2B5EF4-FFF2-40B4-BE49-F238E27FC236}">
                <a16:creationId xmlns:a16="http://schemas.microsoft.com/office/drawing/2014/main" id="{2D814A20-C287-2841-826E-7895C2EF66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8178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078">
            <a:extLst>
              <a:ext uri="{FF2B5EF4-FFF2-40B4-BE49-F238E27FC236}">
                <a16:creationId xmlns:a16="http://schemas.microsoft.com/office/drawing/2014/main" id="{54016AA5-18CE-D44E-8494-2388E4A536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80127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4" name="Text Placeholder 2078">
            <a:extLst>
              <a:ext uri="{FF2B5EF4-FFF2-40B4-BE49-F238E27FC236}">
                <a16:creationId xmlns:a16="http://schemas.microsoft.com/office/drawing/2014/main" id="{7A994EB6-518A-F84D-B6F2-64AB36DB22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2076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5" name="Text Placeholder 2078">
            <a:extLst>
              <a:ext uri="{FF2B5EF4-FFF2-40B4-BE49-F238E27FC236}">
                <a16:creationId xmlns:a16="http://schemas.microsoft.com/office/drawing/2014/main" id="{FF5C52BD-2D0D-214E-B443-CA6F2FEECB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44024" y="1881188"/>
            <a:ext cx="1563945" cy="696912"/>
          </a:xfrm>
        </p:spPr>
        <p:txBody>
          <a:bodyPr wrap="square">
            <a:noAutofit/>
          </a:bodyPr>
          <a:lstStyle>
            <a:lvl1pPr>
              <a:defRPr sz="1600" b="0" i="0">
                <a:solidFill>
                  <a:schemeClr val="accent5"/>
                </a:solidFill>
                <a:latin typeface="Montserrat SemiBold" pitchFamily="2" charset="77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3" name="Freeform 10">
            <a:extLst>
              <a:ext uri="{FF2B5EF4-FFF2-40B4-BE49-F238E27FC236}">
                <a16:creationId xmlns:a16="http://schemas.microsoft.com/office/drawing/2014/main" id="{62A4535B-6596-7642-8BCA-75552100748B}"/>
              </a:ext>
            </a:extLst>
          </p:cNvPr>
          <p:cNvSpPr>
            <a:spLocks/>
          </p:cNvSpPr>
          <p:nvPr userDrawn="1"/>
        </p:nvSpPr>
        <p:spPr bwMode="auto">
          <a:xfrm rot="7739163">
            <a:off x="9219125" y="2512575"/>
            <a:ext cx="2386621" cy="2287132"/>
          </a:xfrm>
          <a:custGeom>
            <a:avLst/>
            <a:gdLst>
              <a:gd name="T0" fmla="*/ 1609 w 2651"/>
              <a:gd name="T1" fmla="*/ 0 h 2582"/>
              <a:gd name="T2" fmla="*/ 587 w 2651"/>
              <a:gd name="T3" fmla="*/ 810 h 2582"/>
              <a:gd name="T4" fmla="*/ 105 w 2651"/>
              <a:gd name="T5" fmla="*/ 1557 h 2582"/>
              <a:gd name="T6" fmla="*/ 7 w 2651"/>
              <a:gd name="T7" fmla="*/ 2007 h 2582"/>
              <a:gd name="T8" fmla="*/ 143 w 2651"/>
              <a:gd name="T9" fmla="*/ 2343 h 2582"/>
              <a:gd name="T10" fmla="*/ 303 w 2651"/>
              <a:gd name="T11" fmla="*/ 2446 h 2582"/>
              <a:gd name="T12" fmla="*/ 306 w 2651"/>
              <a:gd name="T13" fmla="*/ 2448 h 2582"/>
              <a:gd name="T14" fmla="*/ 1704 w 2651"/>
              <a:gd name="T15" fmla="*/ 2023 h 2582"/>
              <a:gd name="T16" fmla="*/ 2327 w 2651"/>
              <a:gd name="T17" fmla="*/ 962 h 2582"/>
              <a:gd name="T18" fmla="*/ 2651 w 2651"/>
              <a:gd name="T19" fmla="*/ 0 h 2582"/>
              <a:gd name="T20" fmla="*/ 2651 w 2651"/>
              <a:gd name="T21" fmla="*/ 0 h 2582"/>
              <a:gd name="T22" fmla="*/ 1609 w 2651"/>
              <a:gd name="T23" fmla="*/ 0 h 2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1" h="2582">
                <a:moveTo>
                  <a:pt x="1609" y="0"/>
                </a:moveTo>
                <a:cubicBezTo>
                  <a:pt x="1271" y="188"/>
                  <a:pt x="885" y="456"/>
                  <a:pt x="587" y="810"/>
                </a:cubicBezTo>
                <a:cubicBezTo>
                  <a:pt x="359" y="1084"/>
                  <a:pt x="197" y="1334"/>
                  <a:pt x="105" y="1557"/>
                </a:cubicBezTo>
                <a:cubicBezTo>
                  <a:pt x="33" y="1722"/>
                  <a:pt x="0" y="1874"/>
                  <a:pt x="7" y="2007"/>
                </a:cubicBezTo>
                <a:cubicBezTo>
                  <a:pt x="12" y="2137"/>
                  <a:pt x="56" y="2246"/>
                  <a:pt x="143" y="2343"/>
                </a:cubicBezTo>
                <a:cubicBezTo>
                  <a:pt x="180" y="2382"/>
                  <a:pt x="233" y="2417"/>
                  <a:pt x="303" y="2446"/>
                </a:cubicBezTo>
                <a:cubicBezTo>
                  <a:pt x="306" y="2448"/>
                  <a:pt x="306" y="2448"/>
                  <a:pt x="306" y="2448"/>
                </a:cubicBezTo>
                <a:cubicBezTo>
                  <a:pt x="624" y="2582"/>
                  <a:pt x="1269" y="2539"/>
                  <a:pt x="1704" y="2023"/>
                </a:cubicBezTo>
                <a:cubicBezTo>
                  <a:pt x="1938" y="1744"/>
                  <a:pt x="2148" y="1387"/>
                  <a:pt x="2327" y="962"/>
                </a:cubicBezTo>
                <a:cubicBezTo>
                  <a:pt x="2483" y="593"/>
                  <a:pt x="2588" y="242"/>
                  <a:pt x="2651" y="0"/>
                </a:cubicBezTo>
                <a:cubicBezTo>
                  <a:pt x="2651" y="0"/>
                  <a:pt x="2651" y="0"/>
                  <a:pt x="2651" y="0"/>
                </a:cubicBezTo>
                <a:lnTo>
                  <a:pt x="1609" y="0"/>
                </a:lnTo>
                <a:close/>
              </a:path>
            </a:pathLst>
          </a:custGeom>
          <a:gradFill>
            <a:gsLst>
              <a:gs pos="0">
                <a:srgbClr val="D5264D"/>
              </a:gs>
              <a:gs pos="100000">
                <a:srgbClr val="21558A"/>
              </a:gs>
            </a:gsLst>
            <a:lin ang="8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960" dirty="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727E09D-49FA-6746-A4F4-CA8D4C0210D1}"/>
              </a:ext>
            </a:extLst>
          </p:cNvPr>
          <p:cNvSpPr/>
          <p:nvPr userDrawn="1"/>
        </p:nvSpPr>
        <p:spPr>
          <a:xfrm>
            <a:off x="6693254" y="-901579"/>
            <a:ext cx="1317488" cy="1290013"/>
          </a:xfrm>
          <a:prstGeom prst="ellipse">
            <a:avLst/>
          </a:prstGeom>
          <a:noFill/>
          <a:ln w="19050">
            <a:gradFill>
              <a:gsLst>
                <a:gs pos="0">
                  <a:srgbClr val="D5264D"/>
                </a:gs>
                <a:gs pos="100000">
                  <a:srgbClr val="21558A"/>
                </a:gs>
              </a:gsLst>
              <a:lin ang="84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960" dirty="0"/>
          </a:p>
        </p:txBody>
      </p:sp>
    </p:spTree>
    <p:extLst>
      <p:ext uri="{BB962C8B-B14F-4D97-AF65-F5344CB8AC3E}">
        <p14:creationId xmlns:p14="http://schemas.microsoft.com/office/powerpoint/2010/main" val="212246806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2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228" y="668773"/>
            <a:ext cx="9273546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229" y="1689105"/>
            <a:ext cx="9273544" cy="4131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6E4C24B8-2CBA-4302-9AB2-514F77CF3D6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77298" y="6128859"/>
            <a:ext cx="412476" cy="435982"/>
            <a:chOff x="1841" y="2"/>
            <a:chExt cx="4000" cy="4318"/>
          </a:xfrm>
        </p:grpSpPr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480F538B-5591-4729-8C28-F988EAAEE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solidFill>
              <a:srgbClr val="1D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00E546D3-8277-4394-A225-0C85C093F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solidFill>
              <a:srgbClr val="DD03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352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93" r:id="rId2"/>
    <p:sldLayoutId id="2147483673" r:id="rId3"/>
    <p:sldLayoutId id="2147483694" r:id="rId4"/>
    <p:sldLayoutId id="2147483674" r:id="rId5"/>
    <p:sldLayoutId id="2147483675" r:id="rId6"/>
    <p:sldLayoutId id="2147483670" r:id="rId7"/>
    <p:sldLayoutId id="2147483671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2" r:id="rId14"/>
    <p:sldLayoutId id="2147483681" r:id="rId15"/>
    <p:sldLayoutId id="2147483683" r:id="rId16"/>
    <p:sldLayoutId id="2147483686" r:id="rId17"/>
    <p:sldLayoutId id="2147483695" r:id="rId18"/>
    <p:sldLayoutId id="2147483692" r:id="rId19"/>
    <p:sldLayoutId id="2147483689" r:id="rId20"/>
    <p:sldLayoutId id="2147483687" r:id="rId21"/>
    <p:sldLayoutId id="2147483688" r:id="rId22"/>
  </p:sldLayoutIdLst>
  <p:transition>
    <p:fade/>
  </p:transition>
  <p:txStyles>
    <p:titleStyle>
      <a:lvl1pPr algn="l" defTabSz="914374" rtl="0" eaLnBrk="1" latinLnBrk="0" hangingPunct="1">
        <a:lnSpc>
          <a:spcPct val="90000"/>
        </a:lnSpc>
        <a:spcBef>
          <a:spcPct val="0"/>
        </a:spcBef>
        <a:buNone/>
        <a:defRPr sz="3599" b="1" i="0" kern="1200">
          <a:solidFill>
            <a:schemeClr val="tx2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1pPr>
      <a:lvl2pPr marL="143996" indent="-143996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2pPr>
      <a:lvl3pPr marL="287991" indent="-143996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Monaco" pitchFamily="2" charset="77"/>
        <a:buChar char="⎼"/>
        <a:defRPr sz="12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3pPr>
      <a:lvl4pPr marL="431988" indent="-143996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System Font Regular"/>
        <a:buChar char="»"/>
        <a:defRPr sz="12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575984" indent="-143996" algn="l" defTabSz="91437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2514528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5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2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89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7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4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1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8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35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22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09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96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199" userDrawn="1">
          <p15:clr>
            <a:srgbClr val="F26B43"/>
          </p15:clr>
        </p15:guide>
        <p15:guide id="20" pos="3120" userDrawn="1">
          <p15:clr>
            <a:srgbClr val="F26B43"/>
          </p15:clr>
        </p15:guide>
        <p15:guide id="21" pos="6041" userDrawn="1">
          <p15:clr>
            <a:srgbClr val="F26B43"/>
          </p15:clr>
        </p15:guide>
        <p15:guide id="22" orient="horz" pos="249" userDrawn="1">
          <p15:clr>
            <a:srgbClr val="F26B43"/>
          </p15:clr>
        </p15:guide>
        <p15:guide id="23" orient="horz" pos="4133" userDrawn="1">
          <p15:clr>
            <a:srgbClr val="F26B43"/>
          </p15:clr>
        </p15:guide>
        <p15:guide id="34" orient="horz" pos="663" userDrawn="1">
          <p15:clr>
            <a:srgbClr val="FBAE40"/>
          </p15:clr>
        </p15:guide>
        <p15:guide id="35" orient="horz" pos="867" userDrawn="1">
          <p15:clr>
            <a:srgbClr val="FBAE40"/>
          </p15:clr>
        </p15:guide>
        <p15:guide id="36" orient="horz" pos="1049" userDrawn="1">
          <p15:clr>
            <a:srgbClr val="FBAE40"/>
          </p15:clr>
        </p15:guide>
        <p15:guide id="37" pos="686" userDrawn="1">
          <p15:clr>
            <a:srgbClr val="FDE53C"/>
          </p15:clr>
        </p15:guide>
        <p15:guide id="38" pos="1172" userDrawn="1">
          <p15:clr>
            <a:srgbClr val="FDE53C"/>
          </p15:clr>
        </p15:guide>
        <p15:guide id="39" pos="1659" userDrawn="1">
          <p15:clr>
            <a:srgbClr val="FDE53C"/>
          </p15:clr>
        </p15:guide>
        <p15:guide id="40" pos="2146" userDrawn="1">
          <p15:clr>
            <a:srgbClr val="FDE53C"/>
          </p15:clr>
        </p15:guide>
        <p15:guide id="41" pos="2633" userDrawn="1">
          <p15:clr>
            <a:srgbClr val="FDE53C"/>
          </p15:clr>
        </p15:guide>
        <p15:guide id="42" pos="3606" userDrawn="1">
          <p15:clr>
            <a:srgbClr val="FDE53C"/>
          </p15:clr>
        </p15:guide>
        <p15:guide id="43" pos="4093" userDrawn="1">
          <p15:clr>
            <a:srgbClr val="FDE53C"/>
          </p15:clr>
        </p15:guide>
        <p15:guide id="44" pos="4580" userDrawn="1">
          <p15:clr>
            <a:srgbClr val="FDE53C"/>
          </p15:clr>
        </p15:guide>
        <p15:guide id="45" pos="5067" userDrawn="1">
          <p15:clr>
            <a:srgbClr val="FDE53C"/>
          </p15:clr>
        </p15:guide>
        <p15:guide id="46" pos="5553" userDrawn="1">
          <p15:clr>
            <a:srgbClr val="FDE53C"/>
          </p15:clr>
        </p15:guide>
        <p15:guide id="47" orient="horz" pos="1185" userDrawn="1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>
            <a:extLst>
              <a:ext uri="{FF2B5EF4-FFF2-40B4-BE49-F238E27FC236}">
                <a16:creationId xmlns:a16="http://schemas.microsoft.com/office/drawing/2014/main" id="{6E4C24B8-2CBA-4302-9AB2-514F77CF3D6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58604" y="6235431"/>
            <a:ext cx="359749" cy="468000"/>
            <a:chOff x="1841" y="2"/>
            <a:chExt cx="4000" cy="431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80F538B-5591-4729-8C28-F988EAAEE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solidFill>
              <a:srgbClr val="1D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0E546D3-8277-4394-A225-0C85C093F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solidFill>
              <a:srgbClr val="DD03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0960" y="6397749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13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pPr algn="ctr"/>
            <a:r>
              <a:rPr lang="en-US" smtClean="0"/>
              <a:t>Page </a:t>
            </a:r>
            <a:fld id="{9B9BA90C-EAA5-9446-B68C-B7124104B36D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256936" y="1484632"/>
            <a:ext cx="9341637" cy="4701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56936" y="684539"/>
            <a:ext cx="9341638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9963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ransition>
    <p:fade/>
  </p:transition>
  <p:hf hdr="0" dt="0"/>
  <p:txStyles>
    <p:titleStyle>
      <a:lvl1pPr algn="l" defTabSz="557211" rtl="0" eaLnBrk="1" latinLnBrk="0" hangingPunct="1">
        <a:lnSpc>
          <a:spcPct val="90000"/>
        </a:lnSpc>
        <a:spcBef>
          <a:spcPct val="0"/>
        </a:spcBef>
        <a:buNone/>
        <a:defRPr sz="2925" b="1" i="0" kern="1200">
          <a:solidFill>
            <a:schemeClr val="tx2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Arial" panose="020B0604020202020204" pitchFamily="34" charset="0"/>
        <a:buNone/>
        <a:defRPr sz="1138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1pPr>
      <a:lvl2pPr marL="87749" indent="-87749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2pPr>
      <a:lvl3pPr marL="175499" indent="-87749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Monaco" pitchFamily="2" charset="77"/>
        <a:buChar char="⎼"/>
        <a:defRPr sz="975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3pPr>
      <a:lvl4pPr marL="263249" indent="-87749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System Font Regular"/>
        <a:buChar char="»"/>
        <a:defRPr sz="975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350999" indent="-87749" algn="l" defTabSz="557211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609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1532329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810934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2089540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368145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605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211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816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2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3026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2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50237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842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245">
          <p15:clr>
            <a:srgbClr val="F26B43"/>
          </p15:clr>
        </p15:guide>
        <p15:guide id="20" pos="3840">
          <p15:clr>
            <a:srgbClr val="F26B43"/>
          </p15:clr>
        </p15:guide>
        <p15:guide id="21" pos="7435">
          <p15:clr>
            <a:srgbClr val="F26B43"/>
          </p15:clr>
        </p15:guide>
        <p15:guide id="22" orient="horz" pos="249">
          <p15:clr>
            <a:srgbClr val="F26B43"/>
          </p15:clr>
        </p15:guide>
        <p15:guide id="23" orient="horz" pos="4133">
          <p15:clr>
            <a:srgbClr val="F26B43"/>
          </p15:clr>
        </p15:guide>
        <p15:guide id="34" orient="horz" pos="663">
          <p15:clr>
            <a:srgbClr val="FBAE40"/>
          </p15:clr>
        </p15:guide>
        <p15:guide id="35" orient="horz" pos="867">
          <p15:clr>
            <a:srgbClr val="FBAE40"/>
          </p15:clr>
        </p15:guide>
        <p15:guide id="36" orient="horz" pos="1049">
          <p15:clr>
            <a:srgbClr val="FBAE40"/>
          </p15:clr>
        </p15:guide>
        <p15:guide id="37" pos="844">
          <p15:clr>
            <a:srgbClr val="FDE53C"/>
          </p15:clr>
        </p15:guide>
        <p15:guide id="38" pos="1443">
          <p15:clr>
            <a:srgbClr val="FDE53C"/>
          </p15:clr>
        </p15:guide>
        <p15:guide id="39" pos="2043">
          <p15:clr>
            <a:srgbClr val="FDE53C"/>
          </p15:clr>
        </p15:guide>
        <p15:guide id="40" pos="2641">
          <p15:clr>
            <a:srgbClr val="FDE53C"/>
          </p15:clr>
        </p15:guide>
        <p15:guide id="41" pos="3241">
          <p15:clr>
            <a:srgbClr val="FDE53C"/>
          </p15:clr>
        </p15:guide>
        <p15:guide id="42" pos="4439">
          <p15:clr>
            <a:srgbClr val="FDE53C"/>
          </p15:clr>
        </p15:guide>
        <p15:guide id="43" pos="5039">
          <p15:clr>
            <a:srgbClr val="FDE53C"/>
          </p15:clr>
        </p15:guide>
        <p15:guide id="44" pos="5637">
          <p15:clr>
            <a:srgbClr val="FDE53C"/>
          </p15:clr>
        </p15:guide>
        <p15:guide id="45" pos="6236">
          <p15:clr>
            <a:srgbClr val="FDE53C"/>
          </p15:clr>
        </p15:guide>
        <p15:guide id="46" pos="6835">
          <p15:clr>
            <a:srgbClr val="FDE53C"/>
          </p15:clr>
        </p15:guide>
        <p15:guide id="47" orient="horz" pos="1185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>
            <a:extLst>
              <a:ext uri="{FF2B5EF4-FFF2-40B4-BE49-F238E27FC236}">
                <a16:creationId xmlns:a16="http://schemas.microsoft.com/office/drawing/2014/main" id="{6E4C24B8-2CBA-4302-9AB2-514F77CF3D6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58604" y="6235431"/>
            <a:ext cx="359749" cy="468000"/>
            <a:chOff x="1841" y="2"/>
            <a:chExt cx="4000" cy="431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80F538B-5591-4729-8C28-F988EAAEE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solidFill>
              <a:srgbClr val="1D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0E546D3-8277-4394-A225-0C85C093F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solidFill>
              <a:srgbClr val="DD03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63" dirty="0"/>
            </a:p>
          </p:txBody>
        </p:sp>
      </p:grp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0960" y="6397749"/>
            <a:ext cx="7605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13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pPr algn="ctr"/>
            <a:r>
              <a:rPr lang="en-AU"/>
              <a:t>© NSW Department of Education | Document tit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256936" y="1484632"/>
            <a:ext cx="9341637" cy="4701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56936" y="684539"/>
            <a:ext cx="9341638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49273" y="6338142"/>
            <a:ext cx="3410026" cy="362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8000"/>
              </a:lnSpc>
            </a:pPr>
            <a:r>
              <a:rPr lang="en-AU" sz="813" u="none" baseline="0" dirty="0">
                <a:solidFill>
                  <a:srgbClr val="19233E"/>
                </a:solidFill>
                <a:uFill>
                  <a:solidFill>
                    <a:schemeClr val="bg1">
                      <a:lumMod val="95000"/>
                    </a:schemeClr>
                  </a:solidFill>
                </a:uFill>
                <a:latin typeface="Montserrat Light" panose="00000400000000000000" pitchFamily="2" charset="0"/>
              </a:rPr>
              <a:t>HUMAN CAPITAL MANAGEMENT PROGRAM</a:t>
            </a:r>
          </a:p>
          <a:p>
            <a:pPr algn="l">
              <a:lnSpc>
                <a:spcPct val="108000"/>
              </a:lnSpc>
            </a:pPr>
            <a:r>
              <a:rPr lang="en-AU" sz="813" i="1" dirty="0">
                <a:solidFill>
                  <a:srgbClr val="19233E"/>
                </a:solidFill>
                <a:latin typeface="Montserrat Light" panose="00000400000000000000" pitchFamily="2" charset="0"/>
              </a:rPr>
              <a:t>enabling excellence in public educa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303784" y="6551085"/>
            <a:ext cx="2310750" cy="146"/>
          </a:xfrm>
          <a:prstGeom prst="line">
            <a:avLst/>
          </a:prstGeom>
          <a:ln w="3175">
            <a:solidFill>
              <a:srgbClr val="1923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5292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</p:sldLayoutIdLst>
  <p:transition>
    <p:fade/>
  </p:transition>
  <p:hf hdr="0" ftr="0" dt="0"/>
  <p:txStyles>
    <p:titleStyle>
      <a:lvl1pPr algn="l" defTabSz="557211" rtl="0" eaLnBrk="1" latinLnBrk="0" hangingPunct="1">
        <a:lnSpc>
          <a:spcPct val="90000"/>
        </a:lnSpc>
        <a:spcBef>
          <a:spcPct val="0"/>
        </a:spcBef>
        <a:buNone/>
        <a:defRPr sz="2925" b="1" i="0" kern="1200">
          <a:solidFill>
            <a:schemeClr val="tx2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Arial" panose="020B0604020202020204" pitchFamily="34" charset="0"/>
        <a:buNone/>
        <a:defRPr sz="1138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1pPr>
      <a:lvl2pPr marL="87749" indent="-87749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2pPr>
      <a:lvl3pPr marL="175499" indent="-87749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Monaco" pitchFamily="2" charset="77"/>
        <a:buChar char="⎼"/>
        <a:defRPr sz="975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3pPr>
      <a:lvl4pPr marL="263249" indent="-87749" algn="l" defTabSz="557211" rtl="0" eaLnBrk="1" latinLnBrk="0" hangingPunct="1">
        <a:lnSpc>
          <a:spcPct val="120000"/>
        </a:lnSpc>
        <a:spcBef>
          <a:spcPts val="0"/>
        </a:spcBef>
        <a:spcAft>
          <a:spcPts val="488"/>
        </a:spcAft>
        <a:buFont typeface="System Font Regular"/>
        <a:buChar char="»"/>
        <a:defRPr sz="975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350999" indent="-87749" algn="l" defTabSz="557211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609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1532329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810934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2089540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368145" indent="-139302" algn="l" defTabSz="557211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605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211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816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2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3026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2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50237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842" algn="l" defTabSz="557211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245">
          <p15:clr>
            <a:srgbClr val="F26B43"/>
          </p15:clr>
        </p15:guide>
        <p15:guide id="20" pos="3840">
          <p15:clr>
            <a:srgbClr val="F26B43"/>
          </p15:clr>
        </p15:guide>
        <p15:guide id="21" pos="7435">
          <p15:clr>
            <a:srgbClr val="F26B43"/>
          </p15:clr>
        </p15:guide>
        <p15:guide id="22" orient="horz" pos="249">
          <p15:clr>
            <a:srgbClr val="F26B43"/>
          </p15:clr>
        </p15:guide>
        <p15:guide id="23" orient="horz" pos="4133">
          <p15:clr>
            <a:srgbClr val="F26B43"/>
          </p15:clr>
        </p15:guide>
        <p15:guide id="34" orient="horz" pos="663">
          <p15:clr>
            <a:srgbClr val="FBAE40"/>
          </p15:clr>
        </p15:guide>
        <p15:guide id="35" orient="horz" pos="867">
          <p15:clr>
            <a:srgbClr val="FBAE40"/>
          </p15:clr>
        </p15:guide>
        <p15:guide id="36" orient="horz" pos="1049">
          <p15:clr>
            <a:srgbClr val="FBAE40"/>
          </p15:clr>
        </p15:guide>
        <p15:guide id="37" pos="844">
          <p15:clr>
            <a:srgbClr val="FDE53C"/>
          </p15:clr>
        </p15:guide>
        <p15:guide id="38" pos="1443">
          <p15:clr>
            <a:srgbClr val="FDE53C"/>
          </p15:clr>
        </p15:guide>
        <p15:guide id="39" pos="2043">
          <p15:clr>
            <a:srgbClr val="FDE53C"/>
          </p15:clr>
        </p15:guide>
        <p15:guide id="40" pos="2641">
          <p15:clr>
            <a:srgbClr val="FDE53C"/>
          </p15:clr>
        </p15:guide>
        <p15:guide id="41" pos="3241">
          <p15:clr>
            <a:srgbClr val="FDE53C"/>
          </p15:clr>
        </p15:guide>
        <p15:guide id="42" pos="4439">
          <p15:clr>
            <a:srgbClr val="FDE53C"/>
          </p15:clr>
        </p15:guide>
        <p15:guide id="43" pos="5039">
          <p15:clr>
            <a:srgbClr val="FDE53C"/>
          </p15:clr>
        </p15:guide>
        <p15:guide id="44" pos="5637">
          <p15:clr>
            <a:srgbClr val="FDE53C"/>
          </p15:clr>
        </p15:guide>
        <p15:guide id="45" pos="6236">
          <p15:clr>
            <a:srgbClr val="FDE53C"/>
          </p15:clr>
        </p15:guide>
        <p15:guide id="46" pos="6835">
          <p15:clr>
            <a:srgbClr val="FDE53C"/>
          </p15:clr>
        </p15:guide>
        <p15:guide id="47" orient="horz" pos="1185">
          <p15:clr>
            <a:srgbClr val="FBAE4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228" y="668773"/>
            <a:ext cx="9273546" cy="49847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229" y="1689105"/>
            <a:ext cx="9273544" cy="4131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Montserrat Medium Point Size 14</a:t>
            </a:r>
          </a:p>
          <a:p>
            <a:pPr lvl="1"/>
            <a:r>
              <a:rPr lang="en-US" dirty="0"/>
              <a:t>Montserrat Medium Point Size 14</a:t>
            </a:r>
          </a:p>
          <a:p>
            <a:pPr lvl="2"/>
            <a:r>
              <a:rPr lang="en-US" dirty="0"/>
              <a:t>Montserrat Medium Point Size 12</a:t>
            </a:r>
          </a:p>
          <a:p>
            <a:pPr lvl="3"/>
            <a:r>
              <a:rPr lang="en-US" dirty="0"/>
              <a:t>Montserrat Light Point Size 12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6E4C24B8-2CBA-4302-9AB2-514F77CF3D6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77298" y="6128859"/>
            <a:ext cx="412476" cy="435982"/>
            <a:chOff x="1841" y="2"/>
            <a:chExt cx="4000" cy="4318"/>
          </a:xfrm>
        </p:grpSpPr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480F538B-5591-4729-8C28-F988EAAEE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" y="2556"/>
              <a:ext cx="3779" cy="1764"/>
            </a:xfrm>
            <a:custGeom>
              <a:avLst/>
              <a:gdLst>
                <a:gd name="T0" fmla="*/ 1845 w 2181"/>
                <a:gd name="T1" fmla="*/ 700 h 1019"/>
                <a:gd name="T2" fmla="*/ 2181 w 2181"/>
                <a:gd name="T3" fmla="*/ 15 h 1019"/>
                <a:gd name="T4" fmla="*/ 1814 w 2181"/>
                <a:gd name="T5" fmla="*/ 15 h 1019"/>
                <a:gd name="T6" fmla="*/ 1459 w 2181"/>
                <a:gd name="T7" fmla="*/ 15 h 1019"/>
                <a:gd name="T8" fmla="*/ 1634 w 2181"/>
                <a:gd name="T9" fmla="*/ 700 h 1019"/>
                <a:gd name="T10" fmla="*/ 701 w 2181"/>
                <a:gd name="T11" fmla="*/ 700 h 1019"/>
                <a:gd name="T12" fmla="*/ 547 w 2181"/>
                <a:gd name="T13" fmla="*/ 453 h 1019"/>
                <a:gd name="T14" fmla="*/ 16 w 2181"/>
                <a:gd name="T15" fmla="*/ 700 h 1019"/>
                <a:gd name="T16" fmla="*/ 108 w 2181"/>
                <a:gd name="T17" fmla="*/ 929 h 1019"/>
                <a:gd name="T18" fmla="*/ 111 w 2181"/>
                <a:gd name="T19" fmla="*/ 985 h 1019"/>
                <a:gd name="T20" fmla="*/ 108 w 2181"/>
                <a:gd name="T21" fmla="*/ 834 h 1019"/>
                <a:gd name="T22" fmla="*/ 109 w 2181"/>
                <a:gd name="T23" fmla="*/ 800 h 1019"/>
                <a:gd name="T24" fmla="*/ 110 w 2181"/>
                <a:gd name="T25" fmla="*/ 1019 h 1019"/>
                <a:gd name="T26" fmla="*/ 108 w 2181"/>
                <a:gd name="T27" fmla="*/ 897 h 1019"/>
                <a:gd name="T28" fmla="*/ 221 w 2181"/>
                <a:gd name="T29" fmla="*/ 909 h 1019"/>
                <a:gd name="T30" fmla="*/ 442 w 2181"/>
                <a:gd name="T31" fmla="*/ 909 h 1019"/>
                <a:gd name="T32" fmla="*/ 403 w 2181"/>
                <a:gd name="T33" fmla="*/ 910 h 1019"/>
                <a:gd name="T34" fmla="*/ 260 w 2181"/>
                <a:gd name="T35" fmla="*/ 909 h 1019"/>
                <a:gd name="T36" fmla="*/ 403 w 2181"/>
                <a:gd name="T37" fmla="*/ 910 h 1019"/>
                <a:gd name="T38" fmla="*/ 440 w 2181"/>
                <a:gd name="T39" fmla="*/ 803 h 1019"/>
                <a:gd name="T40" fmla="*/ 649 w 2181"/>
                <a:gd name="T41" fmla="*/ 803 h 1019"/>
                <a:gd name="T42" fmla="*/ 711 w 2181"/>
                <a:gd name="T43" fmla="*/ 925 h 1019"/>
                <a:gd name="T44" fmla="*/ 711 w 2181"/>
                <a:gd name="T45" fmla="*/ 892 h 1019"/>
                <a:gd name="T46" fmla="*/ 831 w 2181"/>
                <a:gd name="T47" fmla="*/ 803 h 1019"/>
                <a:gd name="T48" fmla="*/ 833 w 2181"/>
                <a:gd name="T49" fmla="*/ 1015 h 1019"/>
                <a:gd name="T50" fmla="*/ 711 w 2181"/>
                <a:gd name="T51" fmla="*/ 925 h 1019"/>
                <a:gd name="T52" fmla="*/ 1024 w 2181"/>
                <a:gd name="T53" fmla="*/ 825 h 1019"/>
                <a:gd name="T54" fmla="*/ 869 w 2181"/>
                <a:gd name="T55" fmla="*/ 1015 h 1019"/>
                <a:gd name="T56" fmla="*/ 952 w 2181"/>
                <a:gd name="T57" fmla="*/ 942 h 1019"/>
                <a:gd name="T58" fmla="*/ 991 w 2181"/>
                <a:gd name="T59" fmla="*/ 935 h 1019"/>
                <a:gd name="T60" fmla="*/ 906 w 2181"/>
                <a:gd name="T61" fmla="*/ 837 h 1019"/>
                <a:gd name="T62" fmla="*/ 1004 w 2181"/>
                <a:gd name="T63" fmla="*/ 873 h 1019"/>
                <a:gd name="T64" fmla="*/ 1223 w 2181"/>
                <a:gd name="T65" fmla="*/ 950 h 1019"/>
                <a:gd name="T66" fmla="*/ 1075 w 2181"/>
                <a:gd name="T67" fmla="*/ 1015 h 1019"/>
                <a:gd name="T68" fmla="*/ 1228 w 2181"/>
                <a:gd name="T69" fmla="*/ 1015 h 1019"/>
                <a:gd name="T70" fmla="*/ 1223 w 2181"/>
                <a:gd name="T71" fmla="*/ 803 h 1019"/>
                <a:gd name="T72" fmla="*/ 1337 w 2181"/>
                <a:gd name="T73" fmla="*/ 803 h 1019"/>
                <a:gd name="T74" fmla="*/ 1334 w 2181"/>
                <a:gd name="T75" fmla="*/ 1015 h 1019"/>
                <a:gd name="T76" fmla="*/ 1401 w 2181"/>
                <a:gd name="T77" fmla="*/ 963 h 1019"/>
                <a:gd name="T78" fmla="*/ 1505 w 2181"/>
                <a:gd name="T79" fmla="*/ 1015 h 1019"/>
                <a:gd name="T80" fmla="*/ 1401 w 2181"/>
                <a:gd name="T81" fmla="*/ 904 h 1019"/>
                <a:gd name="T82" fmla="*/ 1684 w 2181"/>
                <a:gd name="T83" fmla="*/ 892 h 1019"/>
                <a:gd name="T84" fmla="*/ 1698 w 2181"/>
                <a:gd name="T85" fmla="*/ 837 h 1019"/>
                <a:gd name="T86" fmla="*/ 1541 w 2181"/>
                <a:gd name="T87" fmla="*/ 1015 h 1019"/>
                <a:gd name="T88" fmla="*/ 1578 w 2181"/>
                <a:gd name="T89" fmla="*/ 982 h 1019"/>
                <a:gd name="T90" fmla="*/ 1771 w 2181"/>
                <a:gd name="T91" fmla="*/ 803 h 1019"/>
                <a:gd name="T92" fmla="*/ 1773 w 2181"/>
                <a:gd name="T93" fmla="*/ 1015 h 1019"/>
                <a:gd name="T94" fmla="*/ 1921 w 2181"/>
                <a:gd name="T95" fmla="*/ 1015 h 1019"/>
                <a:gd name="T96" fmla="*/ 1884 w 2181"/>
                <a:gd name="T97" fmla="*/ 950 h 1019"/>
                <a:gd name="T98" fmla="*/ 2018 w 2181"/>
                <a:gd name="T99" fmla="*/ 1015 h 1019"/>
                <a:gd name="T100" fmla="*/ 2122 w 2181"/>
                <a:gd name="T101" fmla="*/ 838 h 1019"/>
                <a:gd name="T102" fmla="*/ 1950 w 2181"/>
                <a:gd name="T103" fmla="*/ 838 h 1019"/>
                <a:gd name="T104" fmla="*/ 923 w 2181"/>
                <a:gd name="T105" fmla="*/ 196 h 1019"/>
                <a:gd name="T106" fmla="*/ 1272 w 2181"/>
                <a:gd name="T107" fmla="*/ 89 h 1019"/>
                <a:gd name="T108" fmla="*/ 771 w 2181"/>
                <a:gd name="T109" fmla="*/ 212 h 1019"/>
                <a:gd name="T110" fmla="*/ 1141 w 2181"/>
                <a:gd name="T111" fmla="*/ 515 h 1019"/>
                <a:gd name="T112" fmla="*/ 743 w 2181"/>
                <a:gd name="T113" fmla="*/ 605 h 1019"/>
                <a:gd name="T114" fmla="*/ 1293 w 2181"/>
                <a:gd name="T115" fmla="*/ 498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81" h="1019">
                  <a:moveTo>
                    <a:pt x="1634" y="700"/>
                  </a:moveTo>
                  <a:cubicBezTo>
                    <a:pt x="1739" y="267"/>
                    <a:pt x="1739" y="267"/>
                    <a:pt x="1739" y="267"/>
                  </a:cubicBezTo>
                  <a:cubicBezTo>
                    <a:pt x="1845" y="700"/>
                    <a:pt x="1845" y="700"/>
                    <a:pt x="1845" y="700"/>
                  </a:cubicBezTo>
                  <a:cubicBezTo>
                    <a:pt x="2000" y="700"/>
                    <a:pt x="2000" y="700"/>
                    <a:pt x="2000" y="700"/>
                  </a:cubicBezTo>
                  <a:cubicBezTo>
                    <a:pt x="2002" y="694"/>
                    <a:pt x="2002" y="694"/>
                    <a:pt x="2002" y="694"/>
                  </a:cubicBezTo>
                  <a:cubicBezTo>
                    <a:pt x="2181" y="15"/>
                    <a:pt x="2181" y="15"/>
                    <a:pt x="2181" y="15"/>
                  </a:cubicBezTo>
                  <a:cubicBezTo>
                    <a:pt x="2023" y="15"/>
                    <a:pt x="2023" y="15"/>
                    <a:pt x="2023" y="15"/>
                  </a:cubicBezTo>
                  <a:cubicBezTo>
                    <a:pt x="1921" y="454"/>
                    <a:pt x="1921" y="454"/>
                    <a:pt x="1921" y="454"/>
                  </a:cubicBezTo>
                  <a:cubicBezTo>
                    <a:pt x="1814" y="15"/>
                    <a:pt x="1814" y="15"/>
                    <a:pt x="1814" y="15"/>
                  </a:cubicBezTo>
                  <a:cubicBezTo>
                    <a:pt x="1666" y="15"/>
                    <a:pt x="1666" y="15"/>
                    <a:pt x="1666" y="15"/>
                  </a:cubicBezTo>
                  <a:cubicBezTo>
                    <a:pt x="1558" y="449"/>
                    <a:pt x="1558" y="449"/>
                    <a:pt x="1558" y="449"/>
                  </a:cubicBezTo>
                  <a:cubicBezTo>
                    <a:pt x="1459" y="15"/>
                    <a:pt x="1459" y="15"/>
                    <a:pt x="1459" y="15"/>
                  </a:cubicBezTo>
                  <a:cubicBezTo>
                    <a:pt x="1298" y="15"/>
                    <a:pt x="1298" y="15"/>
                    <a:pt x="1298" y="15"/>
                  </a:cubicBezTo>
                  <a:cubicBezTo>
                    <a:pt x="1476" y="700"/>
                    <a:pt x="1476" y="700"/>
                    <a:pt x="1476" y="700"/>
                  </a:cubicBezTo>
                  <a:lnTo>
                    <a:pt x="1634" y="700"/>
                  </a:lnTo>
                  <a:close/>
                  <a:moveTo>
                    <a:pt x="170" y="263"/>
                  </a:moveTo>
                  <a:cubicBezTo>
                    <a:pt x="542" y="700"/>
                    <a:pt x="542" y="700"/>
                    <a:pt x="542" y="700"/>
                  </a:cubicBezTo>
                  <a:cubicBezTo>
                    <a:pt x="701" y="700"/>
                    <a:pt x="701" y="700"/>
                    <a:pt x="701" y="700"/>
                  </a:cubicBezTo>
                  <a:cubicBezTo>
                    <a:pt x="701" y="15"/>
                    <a:pt x="701" y="15"/>
                    <a:pt x="701" y="15"/>
                  </a:cubicBezTo>
                  <a:cubicBezTo>
                    <a:pt x="547" y="15"/>
                    <a:pt x="547" y="15"/>
                    <a:pt x="547" y="15"/>
                  </a:cubicBezTo>
                  <a:cubicBezTo>
                    <a:pt x="547" y="453"/>
                    <a:pt x="547" y="453"/>
                    <a:pt x="547" y="453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700"/>
                    <a:pt x="16" y="700"/>
                    <a:pt x="16" y="700"/>
                  </a:cubicBezTo>
                  <a:cubicBezTo>
                    <a:pt x="170" y="700"/>
                    <a:pt x="170" y="700"/>
                    <a:pt x="170" y="700"/>
                  </a:cubicBezTo>
                  <a:lnTo>
                    <a:pt x="170" y="263"/>
                  </a:lnTo>
                  <a:close/>
                  <a:moveTo>
                    <a:pt x="108" y="929"/>
                  </a:moveTo>
                  <a:cubicBezTo>
                    <a:pt x="162" y="929"/>
                    <a:pt x="162" y="929"/>
                    <a:pt x="162" y="929"/>
                  </a:cubicBezTo>
                  <a:cubicBezTo>
                    <a:pt x="162" y="969"/>
                    <a:pt x="162" y="969"/>
                    <a:pt x="162" y="969"/>
                  </a:cubicBezTo>
                  <a:cubicBezTo>
                    <a:pt x="149" y="979"/>
                    <a:pt x="131" y="985"/>
                    <a:pt x="111" y="985"/>
                  </a:cubicBezTo>
                  <a:cubicBezTo>
                    <a:pt x="68" y="985"/>
                    <a:pt x="39" y="953"/>
                    <a:pt x="39" y="909"/>
                  </a:cubicBezTo>
                  <a:cubicBezTo>
                    <a:pt x="39" y="909"/>
                    <a:pt x="39" y="909"/>
                    <a:pt x="39" y="909"/>
                  </a:cubicBezTo>
                  <a:cubicBezTo>
                    <a:pt x="39" y="868"/>
                    <a:pt x="69" y="834"/>
                    <a:pt x="108" y="834"/>
                  </a:cubicBezTo>
                  <a:cubicBezTo>
                    <a:pt x="135" y="834"/>
                    <a:pt x="151" y="843"/>
                    <a:pt x="167" y="857"/>
                  </a:cubicBezTo>
                  <a:cubicBezTo>
                    <a:pt x="191" y="829"/>
                    <a:pt x="191" y="829"/>
                    <a:pt x="191" y="829"/>
                  </a:cubicBezTo>
                  <a:cubicBezTo>
                    <a:pt x="169" y="810"/>
                    <a:pt x="146" y="800"/>
                    <a:pt x="109" y="800"/>
                  </a:cubicBezTo>
                  <a:cubicBezTo>
                    <a:pt x="45" y="800"/>
                    <a:pt x="0" y="850"/>
                    <a:pt x="0" y="909"/>
                  </a:cubicBezTo>
                  <a:cubicBezTo>
                    <a:pt x="0" y="910"/>
                    <a:pt x="0" y="910"/>
                    <a:pt x="0" y="910"/>
                  </a:cubicBezTo>
                  <a:cubicBezTo>
                    <a:pt x="0" y="972"/>
                    <a:pt x="44" y="1019"/>
                    <a:pt x="110" y="1019"/>
                  </a:cubicBezTo>
                  <a:cubicBezTo>
                    <a:pt x="148" y="1019"/>
                    <a:pt x="177" y="1004"/>
                    <a:pt x="198" y="986"/>
                  </a:cubicBezTo>
                  <a:cubicBezTo>
                    <a:pt x="198" y="897"/>
                    <a:pt x="198" y="897"/>
                    <a:pt x="198" y="897"/>
                  </a:cubicBezTo>
                  <a:cubicBezTo>
                    <a:pt x="108" y="897"/>
                    <a:pt x="108" y="897"/>
                    <a:pt x="108" y="897"/>
                  </a:cubicBezTo>
                  <a:lnTo>
                    <a:pt x="108" y="929"/>
                  </a:lnTo>
                  <a:close/>
                  <a:moveTo>
                    <a:pt x="332" y="800"/>
                  </a:moveTo>
                  <a:cubicBezTo>
                    <a:pt x="267" y="800"/>
                    <a:pt x="221" y="850"/>
                    <a:pt x="221" y="909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21" y="970"/>
                    <a:pt x="266" y="1019"/>
                    <a:pt x="331" y="1019"/>
                  </a:cubicBezTo>
                  <a:cubicBezTo>
                    <a:pt x="396" y="1019"/>
                    <a:pt x="442" y="969"/>
                    <a:pt x="442" y="909"/>
                  </a:cubicBezTo>
                  <a:cubicBezTo>
                    <a:pt x="442" y="909"/>
                    <a:pt x="442" y="909"/>
                    <a:pt x="442" y="909"/>
                  </a:cubicBezTo>
                  <a:cubicBezTo>
                    <a:pt x="442" y="849"/>
                    <a:pt x="397" y="800"/>
                    <a:pt x="332" y="800"/>
                  </a:cubicBezTo>
                  <a:close/>
                  <a:moveTo>
                    <a:pt x="403" y="910"/>
                  </a:moveTo>
                  <a:cubicBezTo>
                    <a:pt x="403" y="951"/>
                    <a:pt x="374" y="985"/>
                    <a:pt x="332" y="985"/>
                  </a:cubicBezTo>
                  <a:cubicBezTo>
                    <a:pt x="290" y="985"/>
                    <a:pt x="260" y="950"/>
                    <a:pt x="260" y="909"/>
                  </a:cubicBezTo>
                  <a:cubicBezTo>
                    <a:pt x="260" y="909"/>
                    <a:pt x="260" y="909"/>
                    <a:pt x="260" y="909"/>
                  </a:cubicBezTo>
                  <a:cubicBezTo>
                    <a:pt x="260" y="867"/>
                    <a:pt x="289" y="834"/>
                    <a:pt x="331" y="834"/>
                  </a:cubicBezTo>
                  <a:cubicBezTo>
                    <a:pt x="373" y="834"/>
                    <a:pt x="403" y="868"/>
                    <a:pt x="403" y="909"/>
                  </a:cubicBezTo>
                  <a:lnTo>
                    <a:pt x="403" y="910"/>
                  </a:lnTo>
                  <a:close/>
                  <a:moveTo>
                    <a:pt x="545" y="966"/>
                  </a:moveTo>
                  <a:cubicBezTo>
                    <a:pt x="481" y="803"/>
                    <a:pt x="481" y="803"/>
                    <a:pt x="481" y="803"/>
                  </a:cubicBezTo>
                  <a:cubicBezTo>
                    <a:pt x="440" y="803"/>
                    <a:pt x="440" y="803"/>
                    <a:pt x="440" y="803"/>
                  </a:cubicBezTo>
                  <a:cubicBezTo>
                    <a:pt x="528" y="1017"/>
                    <a:pt x="528" y="1017"/>
                    <a:pt x="528" y="1017"/>
                  </a:cubicBezTo>
                  <a:cubicBezTo>
                    <a:pt x="560" y="1017"/>
                    <a:pt x="560" y="1017"/>
                    <a:pt x="560" y="1017"/>
                  </a:cubicBezTo>
                  <a:cubicBezTo>
                    <a:pt x="649" y="803"/>
                    <a:pt x="649" y="803"/>
                    <a:pt x="649" y="803"/>
                  </a:cubicBezTo>
                  <a:cubicBezTo>
                    <a:pt x="608" y="803"/>
                    <a:pt x="608" y="803"/>
                    <a:pt x="608" y="803"/>
                  </a:cubicBezTo>
                  <a:lnTo>
                    <a:pt x="545" y="966"/>
                  </a:lnTo>
                  <a:close/>
                  <a:moveTo>
                    <a:pt x="711" y="925"/>
                  </a:moveTo>
                  <a:cubicBezTo>
                    <a:pt x="817" y="925"/>
                    <a:pt x="817" y="925"/>
                    <a:pt x="817" y="925"/>
                  </a:cubicBezTo>
                  <a:cubicBezTo>
                    <a:pt x="817" y="892"/>
                    <a:pt x="817" y="892"/>
                    <a:pt x="817" y="892"/>
                  </a:cubicBezTo>
                  <a:cubicBezTo>
                    <a:pt x="711" y="892"/>
                    <a:pt x="711" y="892"/>
                    <a:pt x="711" y="892"/>
                  </a:cubicBezTo>
                  <a:cubicBezTo>
                    <a:pt x="711" y="837"/>
                    <a:pt x="711" y="837"/>
                    <a:pt x="711" y="837"/>
                  </a:cubicBezTo>
                  <a:cubicBezTo>
                    <a:pt x="831" y="837"/>
                    <a:pt x="831" y="837"/>
                    <a:pt x="831" y="837"/>
                  </a:cubicBezTo>
                  <a:cubicBezTo>
                    <a:pt x="831" y="803"/>
                    <a:pt x="831" y="803"/>
                    <a:pt x="831" y="803"/>
                  </a:cubicBezTo>
                  <a:cubicBezTo>
                    <a:pt x="674" y="803"/>
                    <a:pt x="674" y="803"/>
                    <a:pt x="674" y="803"/>
                  </a:cubicBezTo>
                  <a:cubicBezTo>
                    <a:pt x="674" y="1015"/>
                    <a:pt x="674" y="1015"/>
                    <a:pt x="674" y="1015"/>
                  </a:cubicBezTo>
                  <a:cubicBezTo>
                    <a:pt x="833" y="1015"/>
                    <a:pt x="833" y="1015"/>
                    <a:pt x="833" y="1015"/>
                  </a:cubicBezTo>
                  <a:cubicBezTo>
                    <a:pt x="833" y="982"/>
                    <a:pt x="833" y="982"/>
                    <a:pt x="833" y="982"/>
                  </a:cubicBezTo>
                  <a:cubicBezTo>
                    <a:pt x="711" y="982"/>
                    <a:pt x="711" y="982"/>
                    <a:pt x="711" y="982"/>
                  </a:cubicBezTo>
                  <a:lnTo>
                    <a:pt x="711" y="925"/>
                  </a:lnTo>
                  <a:close/>
                  <a:moveTo>
                    <a:pt x="1042" y="871"/>
                  </a:moveTo>
                  <a:cubicBezTo>
                    <a:pt x="1042" y="870"/>
                    <a:pt x="1042" y="870"/>
                    <a:pt x="1042" y="870"/>
                  </a:cubicBezTo>
                  <a:cubicBezTo>
                    <a:pt x="1042" y="852"/>
                    <a:pt x="1035" y="836"/>
                    <a:pt x="1024" y="825"/>
                  </a:cubicBezTo>
                  <a:cubicBezTo>
                    <a:pt x="1011" y="811"/>
                    <a:pt x="990" y="803"/>
                    <a:pt x="963" y="803"/>
                  </a:cubicBezTo>
                  <a:cubicBezTo>
                    <a:pt x="869" y="803"/>
                    <a:pt x="869" y="803"/>
                    <a:pt x="869" y="803"/>
                  </a:cubicBezTo>
                  <a:cubicBezTo>
                    <a:pt x="869" y="1015"/>
                    <a:pt x="869" y="1015"/>
                    <a:pt x="869" y="1015"/>
                  </a:cubicBezTo>
                  <a:cubicBezTo>
                    <a:pt x="906" y="1015"/>
                    <a:pt x="906" y="1015"/>
                    <a:pt x="906" y="1015"/>
                  </a:cubicBezTo>
                  <a:cubicBezTo>
                    <a:pt x="906" y="942"/>
                    <a:pt x="906" y="942"/>
                    <a:pt x="906" y="942"/>
                  </a:cubicBezTo>
                  <a:cubicBezTo>
                    <a:pt x="952" y="942"/>
                    <a:pt x="952" y="942"/>
                    <a:pt x="952" y="942"/>
                  </a:cubicBezTo>
                  <a:cubicBezTo>
                    <a:pt x="1005" y="1015"/>
                    <a:pt x="1005" y="1015"/>
                    <a:pt x="1005" y="1015"/>
                  </a:cubicBezTo>
                  <a:cubicBezTo>
                    <a:pt x="1048" y="1015"/>
                    <a:pt x="1048" y="1015"/>
                    <a:pt x="1048" y="1015"/>
                  </a:cubicBezTo>
                  <a:cubicBezTo>
                    <a:pt x="991" y="935"/>
                    <a:pt x="991" y="935"/>
                    <a:pt x="991" y="935"/>
                  </a:cubicBezTo>
                  <a:cubicBezTo>
                    <a:pt x="1021" y="927"/>
                    <a:pt x="1042" y="906"/>
                    <a:pt x="1042" y="871"/>
                  </a:cubicBezTo>
                  <a:close/>
                  <a:moveTo>
                    <a:pt x="906" y="908"/>
                  </a:moveTo>
                  <a:cubicBezTo>
                    <a:pt x="906" y="837"/>
                    <a:pt x="906" y="837"/>
                    <a:pt x="906" y="837"/>
                  </a:cubicBezTo>
                  <a:cubicBezTo>
                    <a:pt x="960" y="837"/>
                    <a:pt x="960" y="837"/>
                    <a:pt x="960" y="837"/>
                  </a:cubicBezTo>
                  <a:cubicBezTo>
                    <a:pt x="988" y="837"/>
                    <a:pt x="1004" y="850"/>
                    <a:pt x="1004" y="872"/>
                  </a:cubicBezTo>
                  <a:cubicBezTo>
                    <a:pt x="1004" y="873"/>
                    <a:pt x="1004" y="873"/>
                    <a:pt x="1004" y="873"/>
                  </a:cubicBezTo>
                  <a:cubicBezTo>
                    <a:pt x="1004" y="894"/>
                    <a:pt x="987" y="908"/>
                    <a:pt x="960" y="908"/>
                  </a:cubicBezTo>
                  <a:lnTo>
                    <a:pt x="906" y="908"/>
                  </a:lnTo>
                  <a:close/>
                  <a:moveTo>
                    <a:pt x="1223" y="950"/>
                  </a:moveTo>
                  <a:cubicBezTo>
                    <a:pt x="1109" y="803"/>
                    <a:pt x="1109" y="803"/>
                    <a:pt x="1109" y="803"/>
                  </a:cubicBezTo>
                  <a:cubicBezTo>
                    <a:pt x="1075" y="803"/>
                    <a:pt x="1075" y="803"/>
                    <a:pt x="1075" y="803"/>
                  </a:cubicBezTo>
                  <a:cubicBezTo>
                    <a:pt x="1075" y="1015"/>
                    <a:pt x="1075" y="1015"/>
                    <a:pt x="1075" y="1015"/>
                  </a:cubicBezTo>
                  <a:cubicBezTo>
                    <a:pt x="1111" y="1015"/>
                    <a:pt x="1111" y="1015"/>
                    <a:pt x="1111" y="1015"/>
                  </a:cubicBezTo>
                  <a:cubicBezTo>
                    <a:pt x="1111" y="864"/>
                    <a:pt x="1111" y="864"/>
                    <a:pt x="1111" y="864"/>
                  </a:cubicBezTo>
                  <a:cubicBezTo>
                    <a:pt x="1228" y="1015"/>
                    <a:pt x="1228" y="1015"/>
                    <a:pt x="1228" y="1015"/>
                  </a:cubicBezTo>
                  <a:cubicBezTo>
                    <a:pt x="1259" y="1015"/>
                    <a:pt x="1259" y="1015"/>
                    <a:pt x="1259" y="1015"/>
                  </a:cubicBezTo>
                  <a:cubicBezTo>
                    <a:pt x="1259" y="803"/>
                    <a:pt x="1259" y="803"/>
                    <a:pt x="125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950"/>
                  </a:lnTo>
                  <a:close/>
                  <a:moveTo>
                    <a:pt x="1401" y="904"/>
                  </a:moveTo>
                  <a:cubicBezTo>
                    <a:pt x="1337" y="803"/>
                    <a:pt x="1337" y="803"/>
                    <a:pt x="1337" y="803"/>
                  </a:cubicBezTo>
                  <a:cubicBezTo>
                    <a:pt x="1297" y="803"/>
                    <a:pt x="1297" y="803"/>
                    <a:pt x="1297" y="803"/>
                  </a:cubicBezTo>
                  <a:cubicBezTo>
                    <a:pt x="1297" y="1015"/>
                    <a:pt x="1297" y="1015"/>
                    <a:pt x="1297" y="1015"/>
                  </a:cubicBezTo>
                  <a:cubicBezTo>
                    <a:pt x="1334" y="1015"/>
                    <a:pt x="1334" y="1015"/>
                    <a:pt x="1334" y="1015"/>
                  </a:cubicBezTo>
                  <a:cubicBezTo>
                    <a:pt x="1334" y="864"/>
                    <a:pt x="1334" y="864"/>
                    <a:pt x="1334" y="864"/>
                  </a:cubicBezTo>
                  <a:cubicBezTo>
                    <a:pt x="1400" y="963"/>
                    <a:pt x="1400" y="963"/>
                    <a:pt x="1400" y="963"/>
                  </a:cubicBezTo>
                  <a:cubicBezTo>
                    <a:pt x="1401" y="963"/>
                    <a:pt x="1401" y="963"/>
                    <a:pt x="1401" y="963"/>
                  </a:cubicBezTo>
                  <a:cubicBezTo>
                    <a:pt x="1468" y="863"/>
                    <a:pt x="1468" y="863"/>
                    <a:pt x="1468" y="863"/>
                  </a:cubicBezTo>
                  <a:cubicBezTo>
                    <a:pt x="1468" y="1015"/>
                    <a:pt x="1468" y="1015"/>
                    <a:pt x="1468" y="1015"/>
                  </a:cubicBezTo>
                  <a:cubicBezTo>
                    <a:pt x="1505" y="1015"/>
                    <a:pt x="1505" y="1015"/>
                    <a:pt x="1505" y="1015"/>
                  </a:cubicBezTo>
                  <a:cubicBezTo>
                    <a:pt x="1505" y="803"/>
                    <a:pt x="1505" y="803"/>
                    <a:pt x="1505" y="803"/>
                  </a:cubicBezTo>
                  <a:cubicBezTo>
                    <a:pt x="1466" y="803"/>
                    <a:pt x="1466" y="803"/>
                    <a:pt x="1466" y="803"/>
                  </a:cubicBezTo>
                  <a:lnTo>
                    <a:pt x="1401" y="904"/>
                  </a:lnTo>
                  <a:close/>
                  <a:moveTo>
                    <a:pt x="1578" y="925"/>
                  </a:moveTo>
                  <a:cubicBezTo>
                    <a:pt x="1684" y="925"/>
                    <a:pt x="1684" y="925"/>
                    <a:pt x="1684" y="925"/>
                  </a:cubicBezTo>
                  <a:cubicBezTo>
                    <a:pt x="1684" y="892"/>
                    <a:pt x="1684" y="892"/>
                    <a:pt x="1684" y="892"/>
                  </a:cubicBezTo>
                  <a:cubicBezTo>
                    <a:pt x="1578" y="892"/>
                    <a:pt x="1578" y="892"/>
                    <a:pt x="1578" y="892"/>
                  </a:cubicBezTo>
                  <a:cubicBezTo>
                    <a:pt x="1578" y="837"/>
                    <a:pt x="1578" y="837"/>
                    <a:pt x="1578" y="837"/>
                  </a:cubicBezTo>
                  <a:cubicBezTo>
                    <a:pt x="1698" y="837"/>
                    <a:pt x="1698" y="837"/>
                    <a:pt x="1698" y="837"/>
                  </a:cubicBezTo>
                  <a:cubicBezTo>
                    <a:pt x="1698" y="803"/>
                    <a:pt x="1698" y="803"/>
                    <a:pt x="1698" y="803"/>
                  </a:cubicBezTo>
                  <a:cubicBezTo>
                    <a:pt x="1541" y="803"/>
                    <a:pt x="1541" y="803"/>
                    <a:pt x="1541" y="803"/>
                  </a:cubicBezTo>
                  <a:cubicBezTo>
                    <a:pt x="1541" y="1015"/>
                    <a:pt x="1541" y="1015"/>
                    <a:pt x="1541" y="1015"/>
                  </a:cubicBezTo>
                  <a:cubicBezTo>
                    <a:pt x="1700" y="1015"/>
                    <a:pt x="1700" y="1015"/>
                    <a:pt x="1700" y="1015"/>
                  </a:cubicBezTo>
                  <a:cubicBezTo>
                    <a:pt x="1700" y="982"/>
                    <a:pt x="1700" y="982"/>
                    <a:pt x="1700" y="982"/>
                  </a:cubicBezTo>
                  <a:cubicBezTo>
                    <a:pt x="1578" y="982"/>
                    <a:pt x="1578" y="982"/>
                    <a:pt x="1578" y="982"/>
                  </a:cubicBezTo>
                  <a:lnTo>
                    <a:pt x="1578" y="925"/>
                  </a:lnTo>
                  <a:close/>
                  <a:moveTo>
                    <a:pt x="1884" y="950"/>
                  </a:moveTo>
                  <a:cubicBezTo>
                    <a:pt x="1771" y="803"/>
                    <a:pt x="1771" y="803"/>
                    <a:pt x="1771" y="803"/>
                  </a:cubicBezTo>
                  <a:cubicBezTo>
                    <a:pt x="1736" y="803"/>
                    <a:pt x="1736" y="803"/>
                    <a:pt x="1736" y="803"/>
                  </a:cubicBezTo>
                  <a:cubicBezTo>
                    <a:pt x="1736" y="1015"/>
                    <a:pt x="1736" y="1015"/>
                    <a:pt x="1736" y="1015"/>
                  </a:cubicBezTo>
                  <a:cubicBezTo>
                    <a:pt x="1773" y="1015"/>
                    <a:pt x="1773" y="1015"/>
                    <a:pt x="1773" y="1015"/>
                  </a:cubicBezTo>
                  <a:cubicBezTo>
                    <a:pt x="1773" y="864"/>
                    <a:pt x="1773" y="864"/>
                    <a:pt x="1773" y="864"/>
                  </a:cubicBezTo>
                  <a:cubicBezTo>
                    <a:pt x="1890" y="1015"/>
                    <a:pt x="1890" y="1015"/>
                    <a:pt x="1890" y="1015"/>
                  </a:cubicBezTo>
                  <a:cubicBezTo>
                    <a:pt x="1921" y="1015"/>
                    <a:pt x="1921" y="1015"/>
                    <a:pt x="1921" y="1015"/>
                  </a:cubicBezTo>
                  <a:cubicBezTo>
                    <a:pt x="1921" y="803"/>
                    <a:pt x="1921" y="803"/>
                    <a:pt x="1921" y="803"/>
                  </a:cubicBezTo>
                  <a:cubicBezTo>
                    <a:pt x="1884" y="803"/>
                    <a:pt x="1884" y="803"/>
                    <a:pt x="1884" y="803"/>
                  </a:cubicBezTo>
                  <a:lnTo>
                    <a:pt x="1884" y="950"/>
                  </a:lnTo>
                  <a:close/>
                  <a:moveTo>
                    <a:pt x="1950" y="838"/>
                  </a:moveTo>
                  <a:cubicBezTo>
                    <a:pt x="2018" y="838"/>
                    <a:pt x="2018" y="838"/>
                    <a:pt x="2018" y="838"/>
                  </a:cubicBezTo>
                  <a:cubicBezTo>
                    <a:pt x="2018" y="1015"/>
                    <a:pt x="2018" y="1015"/>
                    <a:pt x="2018" y="1015"/>
                  </a:cubicBezTo>
                  <a:cubicBezTo>
                    <a:pt x="2055" y="1015"/>
                    <a:pt x="2055" y="1015"/>
                    <a:pt x="2055" y="1015"/>
                  </a:cubicBezTo>
                  <a:cubicBezTo>
                    <a:pt x="2055" y="838"/>
                    <a:pt x="2055" y="838"/>
                    <a:pt x="2055" y="838"/>
                  </a:cubicBezTo>
                  <a:cubicBezTo>
                    <a:pt x="2122" y="838"/>
                    <a:pt x="2122" y="838"/>
                    <a:pt x="2122" y="838"/>
                  </a:cubicBezTo>
                  <a:cubicBezTo>
                    <a:pt x="2122" y="803"/>
                    <a:pt x="2122" y="803"/>
                    <a:pt x="2122" y="803"/>
                  </a:cubicBezTo>
                  <a:cubicBezTo>
                    <a:pt x="1950" y="803"/>
                    <a:pt x="1950" y="803"/>
                    <a:pt x="1950" y="803"/>
                  </a:cubicBezTo>
                  <a:lnTo>
                    <a:pt x="1950" y="838"/>
                  </a:lnTo>
                  <a:close/>
                  <a:moveTo>
                    <a:pt x="1073" y="290"/>
                  </a:moveTo>
                  <a:cubicBezTo>
                    <a:pt x="952" y="259"/>
                    <a:pt x="923" y="244"/>
                    <a:pt x="923" y="198"/>
                  </a:cubicBezTo>
                  <a:cubicBezTo>
                    <a:pt x="923" y="196"/>
                    <a:pt x="923" y="196"/>
                    <a:pt x="923" y="196"/>
                  </a:cubicBezTo>
                  <a:cubicBezTo>
                    <a:pt x="923" y="162"/>
                    <a:pt x="953" y="136"/>
                    <a:pt x="1012" y="136"/>
                  </a:cubicBezTo>
                  <a:cubicBezTo>
                    <a:pt x="1071" y="136"/>
                    <a:pt x="1131" y="161"/>
                    <a:pt x="1193" y="204"/>
                  </a:cubicBezTo>
                  <a:cubicBezTo>
                    <a:pt x="1272" y="89"/>
                    <a:pt x="1272" y="89"/>
                    <a:pt x="1272" y="89"/>
                  </a:cubicBezTo>
                  <a:cubicBezTo>
                    <a:pt x="1202" y="32"/>
                    <a:pt x="1115" y="0"/>
                    <a:pt x="1014" y="0"/>
                  </a:cubicBezTo>
                  <a:cubicBezTo>
                    <a:pt x="872" y="0"/>
                    <a:pt x="771" y="84"/>
                    <a:pt x="771" y="210"/>
                  </a:cubicBezTo>
                  <a:cubicBezTo>
                    <a:pt x="771" y="212"/>
                    <a:pt x="771" y="212"/>
                    <a:pt x="771" y="212"/>
                  </a:cubicBezTo>
                  <a:cubicBezTo>
                    <a:pt x="771" y="350"/>
                    <a:pt x="861" y="389"/>
                    <a:pt x="1001" y="425"/>
                  </a:cubicBezTo>
                  <a:cubicBezTo>
                    <a:pt x="1118" y="455"/>
                    <a:pt x="1141" y="474"/>
                    <a:pt x="1141" y="513"/>
                  </a:cubicBezTo>
                  <a:cubicBezTo>
                    <a:pt x="1141" y="515"/>
                    <a:pt x="1141" y="515"/>
                    <a:pt x="1141" y="515"/>
                  </a:cubicBezTo>
                  <a:cubicBezTo>
                    <a:pt x="1141" y="556"/>
                    <a:pt x="1104" y="581"/>
                    <a:pt x="1041" y="581"/>
                  </a:cubicBezTo>
                  <a:cubicBezTo>
                    <a:pt x="961" y="581"/>
                    <a:pt x="896" y="548"/>
                    <a:pt x="833" y="496"/>
                  </a:cubicBezTo>
                  <a:cubicBezTo>
                    <a:pt x="743" y="605"/>
                    <a:pt x="743" y="605"/>
                    <a:pt x="743" y="605"/>
                  </a:cubicBezTo>
                  <a:cubicBezTo>
                    <a:pt x="826" y="679"/>
                    <a:pt x="933" y="716"/>
                    <a:pt x="1038" y="716"/>
                  </a:cubicBezTo>
                  <a:cubicBezTo>
                    <a:pt x="1188" y="716"/>
                    <a:pt x="1293" y="638"/>
                    <a:pt x="1293" y="500"/>
                  </a:cubicBezTo>
                  <a:cubicBezTo>
                    <a:pt x="1293" y="498"/>
                    <a:pt x="1293" y="498"/>
                    <a:pt x="1293" y="498"/>
                  </a:cubicBezTo>
                  <a:cubicBezTo>
                    <a:pt x="1293" y="377"/>
                    <a:pt x="1214" y="326"/>
                    <a:pt x="1073" y="290"/>
                  </a:cubicBezTo>
                  <a:close/>
                </a:path>
              </a:pathLst>
            </a:custGeom>
            <a:solidFill>
              <a:srgbClr val="1D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00E546D3-8277-4394-A225-0C85C093F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" y="2"/>
              <a:ext cx="4000" cy="2416"/>
            </a:xfrm>
            <a:custGeom>
              <a:avLst/>
              <a:gdLst>
                <a:gd name="T0" fmla="*/ 675 w 2309"/>
                <a:gd name="T1" fmla="*/ 743 h 1396"/>
                <a:gd name="T2" fmla="*/ 748 w 2309"/>
                <a:gd name="T3" fmla="*/ 341 h 1396"/>
                <a:gd name="T4" fmla="*/ 472 w 2309"/>
                <a:gd name="T5" fmla="*/ 195 h 1396"/>
                <a:gd name="T6" fmla="*/ 432 w 2309"/>
                <a:gd name="T7" fmla="*/ 217 h 1396"/>
                <a:gd name="T8" fmla="*/ 541 w 2309"/>
                <a:gd name="T9" fmla="*/ 1037 h 1396"/>
                <a:gd name="T10" fmla="*/ 1264 w 2309"/>
                <a:gd name="T11" fmla="*/ 1279 h 1396"/>
                <a:gd name="T12" fmla="*/ 1555 w 2309"/>
                <a:gd name="T13" fmla="*/ 429 h 1396"/>
                <a:gd name="T14" fmla="*/ 1526 w 2309"/>
                <a:gd name="T15" fmla="*/ 389 h 1396"/>
                <a:gd name="T16" fmla="*/ 1380 w 2309"/>
                <a:gd name="T17" fmla="*/ 527 h 1396"/>
                <a:gd name="T18" fmla="*/ 1152 w 2309"/>
                <a:gd name="T19" fmla="*/ 1207 h 1396"/>
                <a:gd name="T20" fmla="*/ 1131 w 2309"/>
                <a:gd name="T21" fmla="*/ 838 h 1396"/>
                <a:gd name="T22" fmla="*/ 786 w 2309"/>
                <a:gd name="T23" fmla="*/ 389 h 1396"/>
                <a:gd name="T24" fmla="*/ 755 w 2309"/>
                <a:gd name="T25" fmla="*/ 429 h 1396"/>
                <a:gd name="T26" fmla="*/ 766 w 2309"/>
                <a:gd name="T27" fmla="*/ 1046 h 1396"/>
                <a:gd name="T28" fmla="*/ 1103 w 2309"/>
                <a:gd name="T29" fmla="*/ 1270 h 1396"/>
                <a:gd name="T30" fmla="*/ 1081 w 2309"/>
                <a:gd name="T31" fmla="*/ 1095 h 1396"/>
                <a:gd name="T32" fmla="*/ 1159 w 2309"/>
                <a:gd name="T33" fmla="*/ 766 h 1396"/>
                <a:gd name="T34" fmla="*/ 1170 w 2309"/>
                <a:gd name="T35" fmla="*/ 12 h 1396"/>
                <a:gd name="T36" fmla="*/ 1127 w 2309"/>
                <a:gd name="T37" fmla="*/ 31 h 1396"/>
                <a:gd name="T38" fmla="*/ 932 w 2309"/>
                <a:gd name="T39" fmla="*/ 453 h 1396"/>
                <a:gd name="T40" fmla="*/ 1598 w 2309"/>
                <a:gd name="T41" fmla="*/ 392 h 1396"/>
                <a:gd name="T42" fmla="*/ 1592 w 2309"/>
                <a:gd name="T43" fmla="*/ 1061 h 1396"/>
                <a:gd name="T44" fmla="*/ 1892 w 2309"/>
                <a:gd name="T45" fmla="*/ 458 h 1396"/>
                <a:gd name="T46" fmla="*/ 1850 w 2309"/>
                <a:gd name="T47" fmla="*/ 192 h 1396"/>
                <a:gd name="T48" fmla="*/ 1837 w 2309"/>
                <a:gd name="T49" fmla="*/ 195 h 1396"/>
                <a:gd name="T50" fmla="*/ 1762 w 2309"/>
                <a:gd name="T51" fmla="*/ 228 h 1396"/>
                <a:gd name="T52" fmla="*/ 1586 w 2309"/>
                <a:gd name="T53" fmla="*/ 267 h 1396"/>
                <a:gd name="T54" fmla="*/ 1511 w 2309"/>
                <a:gd name="T55" fmla="*/ 52 h 1396"/>
                <a:gd name="T56" fmla="*/ 1506 w 2309"/>
                <a:gd name="T57" fmla="*/ 53 h 1396"/>
                <a:gd name="T58" fmla="*/ 1494 w 2309"/>
                <a:gd name="T59" fmla="*/ 58 h 1396"/>
                <a:gd name="T60" fmla="*/ 1408 w 2309"/>
                <a:gd name="T61" fmla="*/ 389 h 1396"/>
                <a:gd name="T62" fmla="*/ 884 w 2309"/>
                <a:gd name="T63" fmla="*/ 104 h 1396"/>
                <a:gd name="T64" fmla="*/ 815 w 2309"/>
                <a:gd name="T65" fmla="*/ 57 h 1396"/>
                <a:gd name="T66" fmla="*/ 803 w 2309"/>
                <a:gd name="T67" fmla="*/ 53 h 1396"/>
                <a:gd name="T68" fmla="*/ 772 w 2309"/>
                <a:gd name="T69" fmla="*/ 75 h 1396"/>
                <a:gd name="T70" fmla="*/ 988 w 2309"/>
                <a:gd name="T71" fmla="*/ 185 h 1396"/>
                <a:gd name="T72" fmla="*/ 219 w 2309"/>
                <a:gd name="T73" fmla="*/ 498 h 1396"/>
                <a:gd name="T74" fmla="*/ 107 w 2309"/>
                <a:gd name="T75" fmla="*/ 520 h 1396"/>
                <a:gd name="T76" fmla="*/ 388 w 2309"/>
                <a:gd name="T77" fmla="*/ 725 h 1396"/>
                <a:gd name="T78" fmla="*/ 2167 w 2309"/>
                <a:gd name="T79" fmla="*/ 499 h 1396"/>
                <a:gd name="T80" fmla="*/ 1941 w 2309"/>
                <a:gd name="T81" fmla="*/ 506 h 1396"/>
                <a:gd name="T82" fmla="*/ 2210 w 2309"/>
                <a:gd name="T83" fmla="*/ 546 h 1396"/>
                <a:gd name="T84" fmla="*/ 2274 w 2309"/>
                <a:gd name="T85" fmla="*/ 966 h 1396"/>
                <a:gd name="T86" fmla="*/ 2227 w 2309"/>
                <a:gd name="T87" fmla="*/ 935 h 1396"/>
                <a:gd name="T88" fmla="*/ 1811 w 2309"/>
                <a:gd name="T89" fmla="*/ 1061 h 1396"/>
                <a:gd name="T90" fmla="*/ 2301 w 2309"/>
                <a:gd name="T91" fmla="*/ 1040 h 1396"/>
                <a:gd name="T92" fmla="*/ 499 w 2309"/>
                <a:gd name="T93" fmla="*/ 1061 h 1396"/>
                <a:gd name="T94" fmla="*/ 18 w 2309"/>
                <a:gd name="T95" fmla="*/ 978 h 1396"/>
                <a:gd name="T96" fmla="*/ 9 w 2309"/>
                <a:gd name="T97" fmla="*/ 1041 h 1396"/>
                <a:gd name="T98" fmla="*/ 39 w 2309"/>
                <a:gd name="T99" fmla="*/ 1070 h 1396"/>
                <a:gd name="T100" fmla="*/ 499 w 2309"/>
                <a:gd name="T101" fmla="*/ 1061 h 1396"/>
                <a:gd name="T102" fmla="*/ 1699 w 2309"/>
                <a:gd name="T103" fmla="*/ 1305 h 1396"/>
                <a:gd name="T104" fmla="*/ 1519 w 2309"/>
                <a:gd name="T105" fmla="*/ 1309 h 1396"/>
                <a:gd name="T106" fmla="*/ 1212 w 2309"/>
                <a:gd name="T107" fmla="*/ 1337 h 1396"/>
                <a:gd name="T108" fmla="*/ 1305 w 2309"/>
                <a:gd name="T109" fmla="*/ 1337 h 1396"/>
                <a:gd name="T110" fmla="*/ 1881 w 2309"/>
                <a:gd name="T111" fmla="*/ 1351 h 1396"/>
                <a:gd name="T112" fmla="*/ 1091 w 2309"/>
                <a:gd name="T113" fmla="*/ 1330 h 1396"/>
                <a:gd name="T114" fmla="*/ 791 w 2309"/>
                <a:gd name="T115" fmla="*/ 1309 h 1396"/>
                <a:gd name="T116" fmla="*/ 611 w 2309"/>
                <a:gd name="T117" fmla="*/ 1305 h 1396"/>
                <a:gd name="T118" fmla="*/ 416 w 2309"/>
                <a:gd name="T119" fmla="*/ 1319 h 1396"/>
                <a:gd name="T120" fmla="*/ 787 w 2309"/>
                <a:gd name="T121" fmla="*/ 1368 h 1396"/>
                <a:gd name="T122" fmla="*/ 1088 w 2309"/>
                <a:gd name="T123" fmla="*/ 1341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9" h="1396">
                  <a:moveTo>
                    <a:pt x="855" y="1255"/>
                  </a:moveTo>
                  <a:cubicBezTo>
                    <a:pt x="807" y="1218"/>
                    <a:pt x="749" y="1157"/>
                    <a:pt x="719" y="1061"/>
                  </a:cubicBezTo>
                  <a:cubicBezTo>
                    <a:pt x="690" y="971"/>
                    <a:pt x="675" y="863"/>
                    <a:pt x="675" y="743"/>
                  </a:cubicBezTo>
                  <a:cubicBezTo>
                    <a:pt x="675" y="576"/>
                    <a:pt x="703" y="434"/>
                    <a:pt x="712" y="394"/>
                  </a:cubicBezTo>
                  <a:cubicBezTo>
                    <a:pt x="712" y="393"/>
                    <a:pt x="712" y="392"/>
                    <a:pt x="712" y="392"/>
                  </a:cubicBezTo>
                  <a:cubicBezTo>
                    <a:pt x="717" y="369"/>
                    <a:pt x="731" y="350"/>
                    <a:pt x="748" y="341"/>
                  </a:cubicBezTo>
                  <a:cubicBezTo>
                    <a:pt x="622" y="260"/>
                    <a:pt x="513" y="212"/>
                    <a:pt x="492" y="203"/>
                  </a:cubicBezTo>
                  <a:cubicBezTo>
                    <a:pt x="479" y="197"/>
                    <a:pt x="473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67" y="193"/>
                    <a:pt x="463" y="192"/>
                    <a:pt x="458" y="192"/>
                  </a:cubicBezTo>
                  <a:cubicBezTo>
                    <a:pt x="444" y="192"/>
                    <a:pt x="436" y="201"/>
                    <a:pt x="432" y="217"/>
                  </a:cubicBezTo>
                  <a:cubicBezTo>
                    <a:pt x="432" y="217"/>
                    <a:pt x="429" y="242"/>
                    <a:pt x="425" y="285"/>
                  </a:cubicBezTo>
                  <a:cubicBezTo>
                    <a:pt x="421" y="323"/>
                    <a:pt x="417" y="385"/>
                    <a:pt x="417" y="458"/>
                  </a:cubicBezTo>
                  <a:cubicBezTo>
                    <a:pt x="417" y="623"/>
                    <a:pt x="439" y="857"/>
                    <a:pt x="541" y="1037"/>
                  </a:cubicBezTo>
                  <a:cubicBezTo>
                    <a:pt x="620" y="1174"/>
                    <a:pt x="731" y="1251"/>
                    <a:pt x="855" y="1255"/>
                  </a:cubicBezTo>
                  <a:close/>
                  <a:moveTo>
                    <a:pt x="1263" y="1279"/>
                  </a:moveTo>
                  <a:cubicBezTo>
                    <a:pt x="1264" y="1279"/>
                    <a:pt x="1264" y="1279"/>
                    <a:pt x="1264" y="1279"/>
                  </a:cubicBezTo>
                  <a:cubicBezTo>
                    <a:pt x="1350" y="1279"/>
                    <a:pt x="1495" y="1207"/>
                    <a:pt x="1545" y="1046"/>
                  </a:cubicBezTo>
                  <a:cubicBezTo>
                    <a:pt x="1571" y="960"/>
                    <a:pt x="1585" y="858"/>
                    <a:pt x="1585" y="743"/>
                  </a:cubicBezTo>
                  <a:cubicBezTo>
                    <a:pt x="1585" y="600"/>
                    <a:pt x="1564" y="476"/>
                    <a:pt x="1555" y="429"/>
                  </a:cubicBezTo>
                  <a:cubicBezTo>
                    <a:pt x="1552" y="412"/>
                    <a:pt x="1550" y="402"/>
                    <a:pt x="1550" y="402"/>
                  </a:cubicBezTo>
                  <a:cubicBezTo>
                    <a:pt x="1548" y="394"/>
                    <a:pt x="1544" y="384"/>
                    <a:pt x="1536" y="384"/>
                  </a:cubicBezTo>
                  <a:cubicBezTo>
                    <a:pt x="1533" y="384"/>
                    <a:pt x="1530" y="386"/>
                    <a:pt x="1526" y="389"/>
                  </a:cubicBezTo>
                  <a:cubicBezTo>
                    <a:pt x="1526" y="389"/>
                    <a:pt x="1522" y="392"/>
                    <a:pt x="1515" y="398"/>
                  </a:cubicBezTo>
                  <a:cubicBezTo>
                    <a:pt x="1508" y="404"/>
                    <a:pt x="1497" y="412"/>
                    <a:pt x="1483" y="425"/>
                  </a:cubicBezTo>
                  <a:cubicBezTo>
                    <a:pt x="1464" y="442"/>
                    <a:pt x="1425" y="478"/>
                    <a:pt x="1380" y="527"/>
                  </a:cubicBezTo>
                  <a:cubicBezTo>
                    <a:pt x="1309" y="607"/>
                    <a:pt x="1214" y="732"/>
                    <a:pt x="1169" y="877"/>
                  </a:cubicBezTo>
                  <a:cubicBezTo>
                    <a:pt x="1144" y="962"/>
                    <a:pt x="1131" y="1035"/>
                    <a:pt x="1131" y="1095"/>
                  </a:cubicBezTo>
                  <a:cubicBezTo>
                    <a:pt x="1131" y="1139"/>
                    <a:pt x="1138" y="1177"/>
                    <a:pt x="1152" y="1207"/>
                  </a:cubicBezTo>
                  <a:cubicBezTo>
                    <a:pt x="1166" y="1237"/>
                    <a:pt x="1187" y="1257"/>
                    <a:pt x="1216" y="1271"/>
                  </a:cubicBezTo>
                  <a:cubicBezTo>
                    <a:pt x="1229" y="1276"/>
                    <a:pt x="1244" y="1279"/>
                    <a:pt x="1263" y="1279"/>
                  </a:cubicBezTo>
                  <a:close/>
                  <a:moveTo>
                    <a:pt x="1131" y="838"/>
                  </a:moveTo>
                  <a:cubicBezTo>
                    <a:pt x="1131" y="835"/>
                    <a:pt x="1133" y="832"/>
                    <a:pt x="1134" y="829"/>
                  </a:cubicBezTo>
                  <a:cubicBezTo>
                    <a:pt x="1039" y="594"/>
                    <a:pt x="822" y="418"/>
                    <a:pt x="798" y="398"/>
                  </a:cubicBezTo>
                  <a:cubicBezTo>
                    <a:pt x="790" y="392"/>
                    <a:pt x="786" y="389"/>
                    <a:pt x="786" y="389"/>
                  </a:cubicBezTo>
                  <a:cubicBezTo>
                    <a:pt x="782" y="386"/>
                    <a:pt x="778" y="384"/>
                    <a:pt x="775" y="384"/>
                  </a:cubicBezTo>
                  <a:cubicBezTo>
                    <a:pt x="767" y="384"/>
                    <a:pt x="763" y="394"/>
                    <a:pt x="760" y="403"/>
                  </a:cubicBezTo>
                  <a:cubicBezTo>
                    <a:pt x="760" y="404"/>
                    <a:pt x="758" y="414"/>
                    <a:pt x="755" y="429"/>
                  </a:cubicBezTo>
                  <a:cubicBezTo>
                    <a:pt x="752" y="441"/>
                    <a:pt x="748" y="467"/>
                    <a:pt x="743" y="503"/>
                  </a:cubicBezTo>
                  <a:cubicBezTo>
                    <a:pt x="734" y="559"/>
                    <a:pt x="725" y="647"/>
                    <a:pt x="725" y="743"/>
                  </a:cubicBezTo>
                  <a:cubicBezTo>
                    <a:pt x="725" y="860"/>
                    <a:pt x="738" y="962"/>
                    <a:pt x="766" y="1046"/>
                  </a:cubicBezTo>
                  <a:cubicBezTo>
                    <a:pt x="816" y="1207"/>
                    <a:pt x="964" y="1279"/>
                    <a:pt x="1053" y="1279"/>
                  </a:cubicBezTo>
                  <a:cubicBezTo>
                    <a:pt x="1054" y="1279"/>
                    <a:pt x="1054" y="1279"/>
                    <a:pt x="1054" y="1279"/>
                  </a:cubicBezTo>
                  <a:cubicBezTo>
                    <a:pt x="1073" y="1279"/>
                    <a:pt x="1089" y="1276"/>
                    <a:pt x="1103" y="1270"/>
                  </a:cubicBezTo>
                  <a:cubicBezTo>
                    <a:pt x="1110" y="1267"/>
                    <a:pt x="1117" y="1264"/>
                    <a:pt x="1125" y="1258"/>
                  </a:cubicBezTo>
                  <a:cubicBezTo>
                    <a:pt x="1119" y="1250"/>
                    <a:pt x="1113" y="1240"/>
                    <a:pt x="1108" y="1228"/>
                  </a:cubicBezTo>
                  <a:cubicBezTo>
                    <a:pt x="1090" y="1193"/>
                    <a:pt x="1082" y="1149"/>
                    <a:pt x="1081" y="1095"/>
                  </a:cubicBezTo>
                  <a:cubicBezTo>
                    <a:pt x="1082" y="1028"/>
                    <a:pt x="1095" y="950"/>
                    <a:pt x="1123" y="862"/>
                  </a:cubicBezTo>
                  <a:cubicBezTo>
                    <a:pt x="1125" y="855"/>
                    <a:pt x="1128" y="846"/>
                    <a:pt x="1131" y="838"/>
                  </a:cubicBezTo>
                  <a:close/>
                  <a:moveTo>
                    <a:pt x="1159" y="766"/>
                  </a:moveTo>
                  <a:cubicBezTo>
                    <a:pt x="1208" y="661"/>
                    <a:pt x="1281" y="558"/>
                    <a:pt x="1378" y="457"/>
                  </a:cubicBezTo>
                  <a:cubicBezTo>
                    <a:pt x="1312" y="256"/>
                    <a:pt x="1219" y="92"/>
                    <a:pt x="1182" y="31"/>
                  </a:cubicBezTo>
                  <a:cubicBezTo>
                    <a:pt x="1174" y="19"/>
                    <a:pt x="1170" y="12"/>
                    <a:pt x="1170" y="12"/>
                  </a:cubicBezTo>
                  <a:cubicBezTo>
                    <a:pt x="1163" y="1"/>
                    <a:pt x="1157" y="0"/>
                    <a:pt x="1155" y="0"/>
                  </a:cubicBezTo>
                  <a:cubicBezTo>
                    <a:pt x="1150" y="0"/>
                    <a:pt x="1144" y="4"/>
                    <a:pt x="1139" y="13"/>
                  </a:cubicBezTo>
                  <a:cubicBezTo>
                    <a:pt x="1139" y="13"/>
                    <a:pt x="1134" y="19"/>
                    <a:pt x="1127" y="31"/>
                  </a:cubicBezTo>
                  <a:cubicBezTo>
                    <a:pt x="1116" y="49"/>
                    <a:pt x="1106" y="67"/>
                    <a:pt x="1095" y="85"/>
                  </a:cubicBezTo>
                  <a:cubicBezTo>
                    <a:pt x="1072" y="127"/>
                    <a:pt x="1036" y="193"/>
                    <a:pt x="1000" y="277"/>
                  </a:cubicBezTo>
                  <a:cubicBezTo>
                    <a:pt x="975" y="334"/>
                    <a:pt x="952" y="393"/>
                    <a:pt x="932" y="453"/>
                  </a:cubicBezTo>
                  <a:cubicBezTo>
                    <a:pt x="1002" y="523"/>
                    <a:pt x="1097" y="633"/>
                    <a:pt x="1159" y="766"/>
                  </a:cubicBezTo>
                  <a:close/>
                  <a:moveTo>
                    <a:pt x="1562" y="341"/>
                  </a:moveTo>
                  <a:cubicBezTo>
                    <a:pt x="1580" y="350"/>
                    <a:pt x="1593" y="368"/>
                    <a:pt x="1598" y="392"/>
                  </a:cubicBezTo>
                  <a:cubicBezTo>
                    <a:pt x="1598" y="392"/>
                    <a:pt x="1599" y="393"/>
                    <a:pt x="1599" y="394"/>
                  </a:cubicBezTo>
                  <a:cubicBezTo>
                    <a:pt x="1607" y="434"/>
                    <a:pt x="1635" y="577"/>
                    <a:pt x="1635" y="743"/>
                  </a:cubicBezTo>
                  <a:cubicBezTo>
                    <a:pt x="1635" y="863"/>
                    <a:pt x="1620" y="970"/>
                    <a:pt x="1592" y="1061"/>
                  </a:cubicBezTo>
                  <a:cubicBezTo>
                    <a:pt x="1562" y="1157"/>
                    <a:pt x="1506" y="1218"/>
                    <a:pt x="1458" y="1255"/>
                  </a:cubicBezTo>
                  <a:cubicBezTo>
                    <a:pt x="1581" y="1249"/>
                    <a:pt x="1690" y="1172"/>
                    <a:pt x="1768" y="1037"/>
                  </a:cubicBezTo>
                  <a:cubicBezTo>
                    <a:pt x="1871" y="857"/>
                    <a:pt x="1892" y="623"/>
                    <a:pt x="1892" y="458"/>
                  </a:cubicBezTo>
                  <a:cubicBezTo>
                    <a:pt x="1892" y="400"/>
                    <a:pt x="1890" y="341"/>
                    <a:pt x="1884" y="284"/>
                  </a:cubicBezTo>
                  <a:cubicBezTo>
                    <a:pt x="1880" y="242"/>
                    <a:pt x="1877" y="217"/>
                    <a:pt x="1877" y="217"/>
                  </a:cubicBezTo>
                  <a:cubicBezTo>
                    <a:pt x="1874" y="201"/>
                    <a:pt x="1865" y="192"/>
                    <a:pt x="1850" y="192"/>
                  </a:cubicBezTo>
                  <a:cubicBezTo>
                    <a:pt x="1848" y="192"/>
                    <a:pt x="1843" y="192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7" y="195"/>
                    <a:pt x="1837" y="195"/>
                  </a:cubicBezTo>
                  <a:cubicBezTo>
                    <a:pt x="1837" y="195"/>
                    <a:pt x="1830" y="197"/>
                    <a:pt x="1818" y="203"/>
                  </a:cubicBezTo>
                  <a:cubicBezTo>
                    <a:pt x="1806" y="208"/>
                    <a:pt x="1790" y="215"/>
                    <a:pt x="1769" y="225"/>
                  </a:cubicBezTo>
                  <a:cubicBezTo>
                    <a:pt x="1762" y="228"/>
                    <a:pt x="1762" y="228"/>
                    <a:pt x="1762" y="228"/>
                  </a:cubicBezTo>
                  <a:cubicBezTo>
                    <a:pt x="1700" y="258"/>
                    <a:pt x="1639" y="292"/>
                    <a:pt x="1581" y="328"/>
                  </a:cubicBezTo>
                  <a:cubicBezTo>
                    <a:pt x="1575" y="332"/>
                    <a:pt x="1568" y="336"/>
                    <a:pt x="1562" y="341"/>
                  </a:cubicBezTo>
                  <a:close/>
                  <a:moveTo>
                    <a:pt x="1586" y="267"/>
                  </a:moveTo>
                  <a:cubicBezTo>
                    <a:pt x="1567" y="172"/>
                    <a:pt x="1546" y="101"/>
                    <a:pt x="1537" y="75"/>
                  </a:cubicBezTo>
                  <a:cubicBezTo>
                    <a:pt x="1537" y="74"/>
                    <a:pt x="1537" y="73"/>
                    <a:pt x="1536" y="73"/>
                  </a:cubicBezTo>
                  <a:cubicBezTo>
                    <a:pt x="1531" y="59"/>
                    <a:pt x="1523" y="52"/>
                    <a:pt x="1511" y="52"/>
                  </a:cubicBezTo>
                  <a:cubicBezTo>
                    <a:pt x="1510" y="52"/>
                    <a:pt x="1508" y="52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6" y="53"/>
                    <a:pt x="1506" y="53"/>
                    <a:pt x="1506" y="53"/>
                  </a:cubicBezTo>
                  <a:cubicBezTo>
                    <a:pt x="1502" y="53"/>
                    <a:pt x="1498" y="55"/>
                    <a:pt x="1494" y="57"/>
                  </a:cubicBezTo>
                  <a:cubicBezTo>
                    <a:pt x="1494" y="57"/>
                    <a:pt x="1494" y="57"/>
                    <a:pt x="1494" y="57"/>
                  </a:cubicBezTo>
                  <a:cubicBezTo>
                    <a:pt x="1494" y="58"/>
                    <a:pt x="1494" y="58"/>
                    <a:pt x="1494" y="58"/>
                  </a:cubicBezTo>
                  <a:cubicBezTo>
                    <a:pt x="1494" y="58"/>
                    <a:pt x="1467" y="74"/>
                    <a:pt x="1425" y="104"/>
                  </a:cubicBezTo>
                  <a:cubicBezTo>
                    <a:pt x="1402" y="121"/>
                    <a:pt x="1366" y="148"/>
                    <a:pt x="1321" y="185"/>
                  </a:cubicBezTo>
                  <a:cubicBezTo>
                    <a:pt x="1354" y="252"/>
                    <a:pt x="1383" y="321"/>
                    <a:pt x="1408" y="389"/>
                  </a:cubicBezTo>
                  <a:cubicBezTo>
                    <a:pt x="1461" y="347"/>
                    <a:pt x="1519" y="307"/>
                    <a:pt x="1586" y="267"/>
                  </a:cubicBezTo>
                  <a:close/>
                  <a:moveTo>
                    <a:pt x="988" y="185"/>
                  </a:moveTo>
                  <a:cubicBezTo>
                    <a:pt x="953" y="156"/>
                    <a:pt x="918" y="128"/>
                    <a:pt x="884" y="104"/>
                  </a:cubicBezTo>
                  <a:cubicBezTo>
                    <a:pt x="843" y="74"/>
                    <a:pt x="816" y="58"/>
                    <a:pt x="815" y="58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5" y="57"/>
                    <a:pt x="815" y="57"/>
                    <a:pt x="815" y="57"/>
                  </a:cubicBezTo>
                  <a:cubicBezTo>
                    <a:pt x="811" y="55"/>
                    <a:pt x="807" y="53"/>
                    <a:pt x="804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3" y="53"/>
                    <a:pt x="803" y="53"/>
                    <a:pt x="803" y="53"/>
                  </a:cubicBezTo>
                  <a:cubicBezTo>
                    <a:pt x="801" y="52"/>
                    <a:pt x="800" y="52"/>
                    <a:pt x="798" y="52"/>
                  </a:cubicBezTo>
                  <a:cubicBezTo>
                    <a:pt x="787" y="52"/>
                    <a:pt x="778" y="59"/>
                    <a:pt x="773" y="73"/>
                  </a:cubicBezTo>
                  <a:cubicBezTo>
                    <a:pt x="773" y="73"/>
                    <a:pt x="773" y="74"/>
                    <a:pt x="772" y="75"/>
                  </a:cubicBezTo>
                  <a:cubicBezTo>
                    <a:pt x="764" y="101"/>
                    <a:pt x="742" y="172"/>
                    <a:pt x="724" y="267"/>
                  </a:cubicBezTo>
                  <a:cubicBezTo>
                    <a:pt x="790" y="307"/>
                    <a:pt x="848" y="347"/>
                    <a:pt x="902" y="389"/>
                  </a:cubicBezTo>
                  <a:cubicBezTo>
                    <a:pt x="925" y="323"/>
                    <a:pt x="954" y="254"/>
                    <a:pt x="988" y="185"/>
                  </a:cubicBezTo>
                  <a:close/>
                  <a:moveTo>
                    <a:pt x="388" y="725"/>
                  </a:moveTo>
                  <a:cubicBezTo>
                    <a:pt x="377" y="657"/>
                    <a:pt x="370" y="584"/>
                    <a:pt x="368" y="506"/>
                  </a:cubicBezTo>
                  <a:cubicBezTo>
                    <a:pt x="303" y="500"/>
                    <a:pt x="251" y="498"/>
                    <a:pt x="219" y="498"/>
                  </a:cubicBezTo>
                  <a:cubicBezTo>
                    <a:pt x="212" y="498"/>
                    <a:pt x="206" y="498"/>
                    <a:pt x="200" y="498"/>
                  </a:cubicBezTo>
                  <a:cubicBezTo>
                    <a:pt x="164" y="498"/>
                    <a:pt x="143" y="499"/>
                    <a:pt x="143" y="499"/>
                  </a:cubicBezTo>
                  <a:cubicBezTo>
                    <a:pt x="129" y="500"/>
                    <a:pt x="116" y="507"/>
                    <a:pt x="107" y="520"/>
                  </a:cubicBezTo>
                  <a:cubicBezTo>
                    <a:pt x="102" y="528"/>
                    <a:pt x="99" y="537"/>
                    <a:pt x="100" y="546"/>
                  </a:cubicBezTo>
                  <a:cubicBezTo>
                    <a:pt x="102" y="571"/>
                    <a:pt x="119" y="661"/>
                    <a:pt x="226" y="796"/>
                  </a:cubicBezTo>
                  <a:cubicBezTo>
                    <a:pt x="280" y="769"/>
                    <a:pt x="335" y="745"/>
                    <a:pt x="388" y="725"/>
                  </a:cubicBezTo>
                  <a:close/>
                  <a:moveTo>
                    <a:pt x="2210" y="546"/>
                  </a:moveTo>
                  <a:cubicBezTo>
                    <a:pt x="2211" y="538"/>
                    <a:pt x="2206" y="525"/>
                    <a:pt x="2203" y="520"/>
                  </a:cubicBezTo>
                  <a:cubicBezTo>
                    <a:pt x="2194" y="507"/>
                    <a:pt x="2181" y="500"/>
                    <a:pt x="2167" y="499"/>
                  </a:cubicBezTo>
                  <a:cubicBezTo>
                    <a:pt x="2166" y="499"/>
                    <a:pt x="2145" y="498"/>
                    <a:pt x="2110" y="498"/>
                  </a:cubicBezTo>
                  <a:cubicBezTo>
                    <a:pt x="2104" y="498"/>
                    <a:pt x="2097" y="498"/>
                    <a:pt x="2090" y="498"/>
                  </a:cubicBezTo>
                  <a:cubicBezTo>
                    <a:pt x="2058" y="498"/>
                    <a:pt x="2006" y="500"/>
                    <a:pt x="1941" y="506"/>
                  </a:cubicBezTo>
                  <a:cubicBezTo>
                    <a:pt x="1939" y="581"/>
                    <a:pt x="1933" y="654"/>
                    <a:pt x="1922" y="725"/>
                  </a:cubicBezTo>
                  <a:cubicBezTo>
                    <a:pt x="1974" y="745"/>
                    <a:pt x="2029" y="769"/>
                    <a:pt x="2084" y="796"/>
                  </a:cubicBezTo>
                  <a:cubicBezTo>
                    <a:pt x="2191" y="660"/>
                    <a:pt x="2207" y="571"/>
                    <a:pt x="2210" y="546"/>
                  </a:cubicBezTo>
                  <a:close/>
                  <a:moveTo>
                    <a:pt x="2291" y="978"/>
                  </a:moveTo>
                  <a:cubicBezTo>
                    <a:pt x="2291" y="978"/>
                    <a:pt x="2285" y="974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74" y="966"/>
                    <a:pt x="2274" y="966"/>
                    <a:pt x="2274" y="966"/>
                  </a:cubicBezTo>
                  <a:cubicBezTo>
                    <a:pt x="2266" y="960"/>
                    <a:pt x="2254" y="952"/>
                    <a:pt x="2239" y="943"/>
                  </a:cubicBezTo>
                  <a:cubicBezTo>
                    <a:pt x="2236" y="940"/>
                    <a:pt x="2231" y="938"/>
                    <a:pt x="2227" y="935"/>
                  </a:cubicBezTo>
                  <a:cubicBezTo>
                    <a:pt x="2191" y="911"/>
                    <a:pt x="2132" y="876"/>
                    <a:pt x="2060" y="840"/>
                  </a:cubicBezTo>
                  <a:cubicBezTo>
                    <a:pt x="2011" y="815"/>
                    <a:pt x="1961" y="793"/>
                    <a:pt x="1913" y="775"/>
                  </a:cubicBezTo>
                  <a:cubicBezTo>
                    <a:pt x="1891" y="885"/>
                    <a:pt x="1857" y="981"/>
                    <a:pt x="1811" y="1061"/>
                  </a:cubicBezTo>
                  <a:cubicBezTo>
                    <a:pt x="1763" y="1145"/>
                    <a:pt x="1704" y="1209"/>
                    <a:pt x="1633" y="1251"/>
                  </a:cubicBezTo>
                  <a:cubicBezTo>
                    <a:pt x="2143" y="1223"/>
                    <a:pt x="2286" y="1059"/>
                    <a:pt x="2301" y="1040"/>
                  </a:cubicBezTo>
                  <a:cubicBezTo>
                    <a:pt x="2301" y="1040"/>
                    <a:pt x="2301" y="1040"/>
                    <a:pt x="2301" y="1040"/>
                  </a:cubicBezTo>
                  <a:cubicBezTo>
                    <a:pt x="2306" y="1032"/>
                    <a:pt x="2309" y="1024"/>
                    <a:pt x="2309" y="1015"/>
                  </a:cubicBezTo>
                  <a:cubicBezTo>
                    <a:pt x="2309" y="1000"/>
                    <a:pt x="2302" y="986"/>
                    <a:pt x="2291" y="978"/>
                  </a:cubicBezTo>
                  <a:close/>
                  <a:moveTo>
                    <a:pt x="499" y="1061"/>
                  </a:moveTo>
                  <a:cubicBezTo>
                    <a:pt x="453" y="981"/>
                    <a:pt x="419" y="885"/>
                    <a:pt x="397" y="775"/>
                  </a:cubicBezTo>
                  <a:cubicBezTo>
                    <a:pt x="225" y="840"/>
                    <a:pt x="87" y="930"/>
                    <a:pt x="35" y="966"/>
                  </a:cubicBezTo>
                  <a:cubicBezTo>
                    <a:pt x="24" y="974"/>
                    <a:pt x="19" y="978"/>
                    <a:pt x="18" y="978"/>
                  </a:cubicBezTo>
                  <a:cubicBezTo>
                    <a:pt x="7" y="986"/>
                    <a:pt x="0" y="1000"/>
                    <a:pt x="0" y="1015"/>
                  </a:cubicBezTo>
                  <a:cubicBezTo>
                    <a:pt x="0" y="1024"/>
                    <a:pt x="3" y="1032"/>
                    <a:pt x="8" y="1040"/>
                  </a:cubicBezTo>
                  <a:cubicBezTo>
                    <a:pt x="8" y="1040"/>
                    <a:pt x="9" y="1041"/>
                    <a:pt x="9" y="1041"/>
                  </a:cubicBezTo>
                  <a:cubicBezTo>
                    <a:pt x="10" y="1042"/>
                    <a:pt x="11" y="1044"/>
                    <a:pt x="12" y="1045"/>
                  </a:cubicBezTo>
                  <a:cubicBezTo>
                    <a:pt x="13" y="1046"/>
                    <a:pt x="13" y="1047"/>
                    <a:pt x="14" y="1048"/>
                  </a:cubicBezTo>
                  <a:cubicBezTo>
                    <a:pt x="18" y="1051"/>
                    <a:pt x="26" y="1060"/>
                    <a:pt x="39" y="1070"/>
                  </a:cubicBezTo>
                  <a:cubicBezTo>
                    <a:pt x="60" y="1089"/>
                    <a:pt x="99" y="1117"/>
                    <a:pt x="161" y="1144"/>
                  </a:cubicBezTo>
                  <a:cubicBezTo>
                    <a:pt x="289" y="1202"/>
                    <a:pt x="467" y="1239"/>
                    <a:pt x="676" y="1251"/>
                  </a:cubicBezTo>
                  <a:cubicBezTo>
                    <a:pt x="607" y="1209"/>
                    <a:pt x="546" y="1144"/>
                    <a:pt x="499" y="1061"/>
                  </a:cubicBezTo>
                  <a:close/>
                  <a:moveTo>
                    <a:pt x="1849" y="1288"/>
                  </a:moveTo>
                  <a:cubicBezTo>
                    <a:pt x="1823" y="1288"/>
                    <a:pt x="1784" y="1293"/>
                    <a:pt x="1726" y="1301"/>
                  </a:cubicBezTo>
                  <a:cubicBezTo>
                    <a:pt x="1717" y="1302"/>
                    <a:pt x="1708" y="1304"/>
                    <a:pt x="1699" y="1305"/>
                  </a:cubicBezTo>
                  <a:cubicBezTo>
                    <a:pt x="1673" y="1308"/>
                    <a:pt x="1642" y="1310"/>
                    <a:pt x="1601" y="1310"/>
                  </a:cubicBezTo>
                  <a:cubicBezTo>
                    <a:pt x="1575" y="1310"/>
                    <a:pt x="1549" y="1310"/>
                    <a:pt x="1521" y="1309"/>
                  </a:cubicBezTo>
                  <a:cubicBezTo>
                    <a:pt x="1519" y="1309"/>
                    <a:pt x="1519" y="1309"/>
                    <a:pt x="1519" y="1309"/>
                  </a:cubicBezTo>
                  <a:cubicBezTo>
                    <a:pt x="1492" y="1308"/>
                    <a:pt x="1462" y="1308"/>
                    <a:pt x="1432" y="1308"/>
                  </a:cubicBezTo>
                  <a:cubicBezTo>
                    <a:pt x="1370" y="1308"/>
                    <a:pt x="1289" y="1310"/>
                    <a:pt x="1218" y="1330"/>
                  </a:cubicBezTo>
                  <a:cubicBezTo>
                    <a:pt x="1215" y="1331"/>
                    <a:pt x="1212" y="1335"/>
                    <a:pt x="1212" y="1337"/>
                  </a:cubicBezTo>
                  <a:cubicBezTo>
                    <a:pt x="1213" y="1340"/>
                    <a:pt x="1217" y="1341"/>
                    <a:pt x="1221" y="1341"/>
                  </a:cubicBezTo>
                  <a:cubicBezTo>
                    <a:pt x="1222" y="1341"/>
                    <a:pt x="1223" y="1340"/>
                    <a:pt x="1224" y="1340"/>
                  </a:cubicBezTo>
                  <a:cubicBezTo>
                    <a:pt x="1253" y="1338"/>
                    <a:pt x="1280" y="1337"/>
                    <a:pt x="1305" y="1337"/>
                  </a:cubicBezTo>
                  <a:cubicBezTo>
                    <a:pt x="1398" y="1337"/>
                    <a:pt x="1462" y="1353"/>
                    <a:pt x="1523" y="1368"/>
                  </a:cubicBezTo>
                  <a:cubicBezTo>
                    <a:pt x="1580" y="1383"/>
                    <a:pt x="1635" y="1396"/>
                    <a:pt x="1711" y="1396"/>
                  </a:cubicBezTo>
                  <a:cubicBezTo>
                    <a:pt x="1791" y="1396"/>
                    <a:pt x="1855" y="1379"/>
                    <a:pt x="1881" y="1351"/>
                  </a:cubicBezTo>
                  <a:cubicBezTo>
                    <a:pt x="1890" y="1341"/>
                    <a:pt x="1894" y="1330"/>
                    <a:pt x="1893" y="1319"/>
                  </a:cubicBezTo>
                  <a:cubicBezTo>
                    <a:pt x="1891" y="1297"/>
                    <a:pt x="1884" y="1288"/>
                    <a:pt x="1849" y="1288"/>
                  </a:cubicBezTo>
                  <a:close/>
                  <a:moveTo>
                    <a:pt x="1091" y="1330"/>
                  </a:moveTo>
                  <a:cubicBezTo>
                    <a:pt x="1020" y="1310"/>
                    <a:pt x="939" y="1308"/>
                    <a:pt x="877" y="1308"/>
                  </a:cubicBezTo>
                  <a:cubicBezTo>
                    <a:pt x="877" y="1308"/>
                    <a:pt x="877" y="1308"/>
                    <a:pt x="877" y="1308"/>
                  </a:cubicBezTo>
                  <a:cubicBezTo>
                    <a:pt x="847" y="1308"/>
                    <a:pt x="817" y="1308"/>
                    <a:pt x="791" y="1309"/>
                  </a:cubicBezTo>
                  <a:cubicBezTo>
                    <a:pt x="788" y="1309"/>
                    <a:pt x="788" y="1309"/>
                    <a:pt x="788" y="1309"/>
                  </a:cubicBezTo>
                  <a:cubicBezTo>
                    <a:pt x="760" y="1310"/>
                    <a:pt x="734" y="1310"/>
                    <a:pt x="709" y="1310"/>
                  </a:cubicBezTo>
                  <a:cubicBezTo>
                    <a:pt x="667" y="1310"/>
                    <a:pt x="636" y="1308"/>
                    <a:pt x="611" y="1305"/>
                  </a:cubicBezTo>
                  <a:cubicBezTo>
                    <a:pt x="601" y="1304"/>
                    <a:pt x="592" y="1302"/>
                    <a:pt x="583" y="1301"/>
                  </a:cubicBezTo>
                  <a:cubicBezTo>
                    <a:pt x="525" y="1293"/>
                    <a:pt x="486" y="1288"/>
                    <a:pt x="460" y="1288"/>
                  </a:cubicBezTo>
                  <a:cubicBezTo>
                    <a:pt x="425" y="1288"/>
                    <a:pt x="418" y="1297"/>
                    <a:pt x="416" y="1319"/>
                  </a:cubicBezTo>
                  <a:cubicBezTo>
                    <a:pt x="415" y="1330"/>
                    <a:pt x="419" y="1341"/>
                    <a:pt x="428" y="1350"/>
                  </a:cubicBezTo>
                  <a:cubicBezTo>
                    <a:pt x="453" y="1379"/>
                    <a:pt x="519" y="1396"/>
                    <a:pt x="599" y="1396"/>
                  </a:cubicBezTo>
                  <a:cubicBezTo>
                    <a:pt x="675" y="1396"/>
                    <a:pt x="729" y="1383"/>
                    <a:pt x="787" y="1368"/>
                  </a:cubicBezTo>
                  <a:cubicBezTo>
                    <a:pt x="848" y="1353"/>
                    <a:pt x="911" y="1337"/>
                    <a:pt x="1004" y="1337"/>
                  </a:cubicBezTo>
                  <a:cubicBezTo>
                    <a:pt x="1030" y="1337"/>
                    <a:pt x="1057" y="1338"/>
                    <a:pt x="1085" y="1340"/>
                  </a:cubicBezTo>
                  <a:cubicBezTo>
                    <a:pt x="1086" y="1340"/>
                    <a:pt x="1087" y="1341"/>
                    <a:pt x="1088" y="1341"/>
                  </a:cubicBezTo>
                  <a:cubicBezTo>
                    <a:pt x="1092" y="1341"/>
                    <a:pt x="1097" y="1340"/>
                    <a:pt x="1097" y="1337"/>
                  </a:cubicBezTo>
                  <a:cubicBezTo>
                    <a:pt x="1097" y="1335"/>
                    <a:pt x="1095" y="1331"/>
                    <a:pt x="1091" y="1330"/>
                  </a:cubicBezTo>
                  <a:close/>
                </a:path>
              </a:pathLst>
            </a:custGeom>
            <a:solidFill>
              <a:srgbClr val="DD03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228" y="6188899"/>
            <a:ext cx="334327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Page </a:t>
            </a:r>
            <a:fld id="{9B9BA90C-EAA5-9446-B68C-B7124104B3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20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</p:sldLayoutIdLst>
  <p:transition>
    <p:fade/>
  </p:transition>
  <p:txStyles>
    <p:titleStyle>
      <a:lvl1pPr algn="l" defTabSz="914374" rtl="0" eaLnBrk="1" latinLnBrk="0" hangingPunct="1">
        <a:lnSpc>
          <a:spcPct val="90000"/>
        </a:lnSpc>
        <a:spcBef>
          <a:spcPct val="0"/>
        </a:spcBef>
        <a:buNone/>
        <a:defRPr sz="3599" b="1" i="0" kern="1200">
          <a:solidFill>
            <a:schemeClr val="tx2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1pPr>
      <a:lvl2pPr marL="143996" indent="-143996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2pPr>
      <a:lvl3pPr marL="287991" indent="-143996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Monaco" pitchFamily="2" charset="77"/>
        <a:buChar char="⎼"/>
        <a:defRPr sz="1200" kern="1200">
          <a:solidFill>
            <a:schemeClr val="tx1"/>
          </a:solidFill>
          <a:latin typeface="Montserrat Medium" pitchFamily="2" charset="77"/>
          <a:ea typeface="+mn-ea"/>
          <a:cs typeface="+mn-cs"/>
        </a:defRPr>
      </a:lvl3pPr>
      <a:lvl4pPr marL="431988" indent="-143996" algn="l" defTabSz="914374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System Font Regular"/>
        <a:buChar char="»"/>
        <a:defRPr sz="12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575984" indent="-143996" algn="l" defTabSz="91437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2514528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5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2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89" indent="-228593" algn="l" defTabSz="91437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7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4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1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8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35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22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09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96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199">
          <p15:clr>
            <a:srgbClr val="F26B43"/>
          </p15:clr>
        </p15:guide>
        <p15:guide id="20" pos="3120">
          <p15:clr>
            <a:srgbClr val="F26B43"/>
          </p15:clr>
        </p15:guide>
        <p15:guide id="21" pos="6041">
          <p15:clr>
            <a:srgbClr val="F26B43"/>
          </p15:clr>
        </p15:guide>
        <p15:guide id="22" orient="horz" pos="249">
          <p15:clr>
            <a:srgbClr val="F26B43"/>
          </p15:clr>
        </p15:guide>
        <p15:guide id="23" orient="horz" pos="4133">
          <p15:clr>
            <a:srgbClr val="F26B43"/>
          </p15:clr>
        </p15:guide>
        <p15:guide id="34" orient="horz" pos="663">
          <p15:clr>
            <a:srgbClr val="FBAE40"/>
          </p15:clr>
        </p15:guide>
        <p15:guide id="35" orient="horz" pos="867">
          <p15:clr>
            <a:srgbClr val="FBAE40"/>
          </p15:clr>
        </p15:guide>
        <p15:guide id="36" orient="horz" pos="1049">
          <p15:clr>
            <a:srgbClr val="FBAE40"/>
          </p15:clr>
        </p15:guide>
        <p15:guide id="37" pos="686">
          <p15:clr>
            <a:srgbClr val="FDE53C"/>
          </p15:clr>
        </p15:guide>
        <p15:guide id="38" pos="1172">
          <p15:clr>
            <a:srgbClr val="FDE53C"/>
          </p15:clr>
        </p15:guide>
        <p15:guide id="39" pos="1659">
          <p15:clr>
            <a:srgbClr val="FDE53C"/>
          </p15:clr>
        </p15:guide>
        <p15:guide id="40" pos="2146">
          <p15:clr>
            <a:srgbClr val="FDE53C"/>
          </p15:clr>
        </p15:guide>
        <p15:guide id="41" pos="2633">
          <p15:clr>
            <a:srgbClr val="FDE53C"/>
          </p15:clr>
        </p15:guide>
        <p15:guide id="42" pos="3606">
          <p15:clr>
            <a:srgbClr val="FDE53C"/>
          </p15:clr>
        </p15:guide>
        <p15:guide id="43" pos="4093">
          <p15:clr>
            <a:srgbClr val="FDE53C"/>
          </p15:clr>
        </p15:guide>
        <p15:guide id="44" pos="4580">
          <p15:clr>
            <a:srgbClr val="FDE53C"/>
          </p15:clr>
        </p15:guide>
        <p15:guide id="45" pos="5067">
          <p15:clr>
            <a:srgbClr val="FDE53C"/>
          </p15:clr>
        </p15:guide>
        <p15:guide id="46" pos="5553">
          <p15:clr>
            <a:srgbClr val="FDE53C"/>
          </p15:clr>
        </p15:guide>
        <p15:guide id="47" orient="horz" pos="1185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5.xml"/><Relationship Id="rId7" Type="http://schemas.openxmlformats.org/officeDocument/2006/relationships/image" Target="../media/image1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hyperlink" Target="https://www.ey.com/en_gl/workforce/how-do-you-ensure-you-are-automating-intelligently" TargetMode="External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7.png"/><Relationship Id="rId5" Type="http://schemas.openxmlformats.org/officeDocument/2006/relationships/image" Target="../media/image9.svg"/><Relationship Id="rId4" Type="http://schemas.openxmlformats.org/officeDocument/2006/relationships/image" Target="../media/image36.png"/><Relationship Id="rId9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7.xml"/><Relationship Id="rId7" Type="http://schemas.openxmlformats.org/officeDocument/2006/relationships/image" Target="../media/image17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1.jp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9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1.xml"/><Relationship Id="rId7" Type="http://schemas.openxmlformats.org/officeDocument/2006/relationships/image" Target="../media/image1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54.xml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70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4000" b="1" dirty="0" err="1" smtClean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pic>
        <p:nvPicPr>
          <p:cNvPr id="101" name="Picture Placeholder 100">
            <a:extLst>
              <a:ext uri="{FF2B5EF4-FFF2-40B4-BE49-F238E27FC236}">
                <a16:creationId xmlns:a16="http://schemas.microsoft.com/office/drawing/2014/main" id="{988134D5-F22F-4E68-98A4-0B1435C464C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4" b="1054"/>
          <a:stretch>
            <a:fillRect/>
          </a:stretch>
        </p:blipFill>
        <p:spPr>
          <a:xfrm>
            <a:off x="7308336" y="1"/>
            <a:ext cx="2597664" cy="4803828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4D197-6E6A-4844-B491-6400BC243C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08336" y="1"/>
            <a:ext cx="2597664" cy="48038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991C112E-D9DA-4644-BF54-1093D746D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Strategy and Delivery Division Update</a:t>
            </a:r>
            <a:endParaRPr lang="en-AU" dirty="0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402AC5F-7580-4116-B5BD-B15A324FF0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6227" y="5260424"/>
            <a:ext cx="8305745" cy="276999"/>
          </a:xfrm>
        </p:spPr>
        <p:txBody>
          <a:bodyPr/>
          <a:lstStyle/>
          <a:p>
            <a:r>
              <a:rPr lang="en-AU" dirty="0" smtClean="0">
                <a:solidFill>
                  <a:schemeClr val="bg1"/>
                </a:solidFill>
              </a:rPr>
              <a:t>Secondary Principal Council – State Assembly Friday 31 May 2019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AF99F32F-5B02-4FEE-B85B-6AF35E4169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Liana Downey, Acting Deputy Secretary ,Strategy and Delivery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88432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Box 100"/>
          <p:cNvSpPr txBox="1"/>
          <p:nvPr/>
        </p:nvSpPr>
        <p:spPr>
          <a:xfrm>
            <a:off x="241471" y="1601409"/>
            <a:ext cx="9278557" cy="297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1300" b="1" dirty="0">
                <a:solidFill>
                  <a:srgbClr val="9D2235"/>
                </a:solidFill>
                <a:latin typeface="Montserrat SemiBold" panose="00000700000000000000" pitchFamily="2" charset="0"/>
              </a:rPr>
              <a:t>Our analysis shows that d</a:t>
            </a:r>
            <a:r>
              <a:rPr lang="en-AU" sz="1300" b="1" dirty="0" err="1">
                <a:solidFill>
                  <a:srgbClr val="9D2235"/>
                </a:solidFill>
                <a:latin typeface="Montserrat SemiBold" panose="00000700000000000000" pitchFamily="2" charset="0"/>
              </a:rPr>
              <a:t>elays</a:t>
            </a:r>
            <a:r>
              <a:rPr lang="en-AU" sz="1300" b="1" dirty="0">
                <a:solidFill>
                  <a:srgbClr val="9D2235"/>
                </a:solidFill>
                <a:latin typeface="Montserrat SemiBold" panose="00000700000000000000" pitchFamily="2" charset="0"/>
              </a:rPr>
              <a:t>, data inconsistencies and high manual handling are impacting service quality </a:t>
            </a:r>
          </a:p>
        </p:txBody>
      </p:sp>
      <p:sp>
        <p:nvSpPr>
          <p:cNvPr id="227" name="Title 4">
            <a:extLst>
              <a:ext uri="{FF2B5EF4-FFF2-40B4-BE49-F238E27FC236}">
                <a16:creationId xmlns:a16="http://schemas.microsoft.com/office/drawing/2014/main" id="{4EAD0668-2751-400D-ACBC-E5D0D77AA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2763" dirty="0">
                <a:latin typeface="+mj-lt"/>
              </a:rPr>
              <a:t>Pain points</a:t>
            </a:r>
          </a:p>
        </p:txBody>
      </p:sp>
      <p:sp>
        <p:nvSpPr>
          <p:cNvPr id="213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678" y="5735415"/>
            <a:ext cx="2716411" cy="2966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75" b="0" i="0">
                <a:solidFill>
                  <a:schemeClr val="tx2"/>
                </a:solidFill>
                <a:latin typeface="Montserrat Light" pitchFamily="2" charset="77"/>
              </a:defRPr>
            </a:lvl1pPr>
          </a:lstStyle>
          <a:p>
            <a:pPr defTabSz="371453">
              <a:defRPr/>
            </a:pPr>
            <a:r>
              <a:rPr lang="en-US" dirty="0">
                <a:solidFill>
                  <a:srgbClr val="19233E"/>
                </a:solidFill>
              </a:rPr>
              <a:t>Page 6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204677" y="3572840"/>
            <a:ext cx="9548273" cy="2310907"/>
            <a:chOff x="251911" y="3275528"/>
            <a:chExt cx="11751720" cy="2844193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C2862ABE-F06F-41B3-B926-C73F841B64D7}"/>
                </a:ext>
              </a:extLst>
            </p:cNvPr>
            <p:cNvSpPr txBox="1"/>
            <p:nvPr/>
          </p:nvSpPr>
          <p:spPr>
            <a:xfrm>
              <a:off x="251911" y="3275528"/>
              <a:ext cx="1231200" cy="396362"/>
            </a:xfrm>
            <a:prstGeom prst="chevron">
              <a:avLst/>
            </a:prstGeom>
            <a:noFill/>
            <a:ln w="9525" cap="flat" cmpd="sng" algn="ctr">
              <a:solidFill>
                <a:srgbClr val="69696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894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Montserrat"/>
                </a:rPr>
                <a:t>  </a:t>
              </a:r>
              <a:r>
                <a:rPr lang="en-AU" sz="894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Montserrat Medium"/>
                </a:rPr>
                <a:t>key pain p</a:t>
              </a:r>
              <a:r>
                <a:rPr lang="en-AU" sz="894" dirty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Montserrat Medium"/>
                </a:rPr>
                <a:t>oints</a:t>
              </a:r>
              <a:endParaRPr lang="en-AU" sz="894" dirty="0">
                <a:solidFill>
                  <a:srgbClr val="000000">
                    <a:lumMod val="75000"/>
                    <a:lumOff val="25000"/>
                  </a:srgbClr>
                </a:solidFill>
                <a:latin typeface="Montserrat Medium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1713257" y="3311721"/>
              <a:ext cx="10290374" cy="2808000"/>
              <a:chOff x="1713257" y="3239563"/>
              <a:chExt cx="10290374" cy="28080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3553439C-61CB-4EF5-A89B-290BE94C2A00}"/>
                  </a:ext>
                </a:extLst>
              </p:cNvPr>
              <p:cNvSpPr/>
              <p:nvPr/>
            </p:nvSpPr>
            <p:spPr>
              <a:xfrm>
                <a:off x="1909181" y="3239563"/>
                <a:ext cx="1934752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29250" tIns="29250" rIns="29250" bIns="292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71453">
                  <a:spcBef>
                    <a:spcPts val="488"/>
                  </a:spcBef>
                  <a:defRPr/>
                </a:pP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s</a:t>
                </a:r>
                <a:r>
                  <a:rPr lang="en-US" sz="894" b="1" dirty="0" err="1">
                    <a:solidFill>
                      <a:srgbClr val="19233E"/>
                    </a:solidFill>
                    <a:latin typeface="Montserrat Medium"/>
                  </a:rPr>
                  <a:t>chool</a:t>
                </a: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 entitlements not settled until week 3 of t</a:t>
                </a:r>
                <a:r>
                  <a:rPr lang="en-US" sz="894" b="1" dirty="0" err="1">
                    <a:solidFill>
                      <a:srgbClr val="19233E"/>
                    </a:solidFill>
                    <a:latin typeface="Montserrat Medium"/>
                  </a:rPr>
                  <a:t>erm</a:t>
                </a: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 1 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delays in finalizing class sizes</a:t>
                </a:r>
              </a:p>
              <a:p>
                <a:pPr marL="215404" indent="-139303" defTabSz="371453"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underfunding at start of school year, often not reimbursed </a:t>
                </a:r>
              </a:p>
              <a:p>
                <a:pPr defTabSz="371453">
                  <a:spcBef>
                    <a:spcPts val="325"/>
                  </a:spcBef>
                  <a:defRPr/>
                </a:pP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m</a:t>
                </a:r>
                <a:r>
                  <a:rPr lang="en-US" sz="894" b="1" spc="-16" dirty="0" err="1">
                    <a:solidFill>
                      <a:srgbClr val="19233E"/>
                    </a:solidFill>
                    <a:latin typeface="Montserrat Medium"/>
                  </a:rPr>
                  <a:t>anual</a:t>
                </a: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 data transfers from s</a:t>
                </a:r>
                <a:r>
                  <a:rPr lang="en-US" sz="894" b="1" spc="-16" dirty="0" err="1">
                    <a:solidFill>
                      <a:srgbClr val="19233E"/>
                    </a:solidFill>
                    <a:latin typeface="Montserrat Medium"/>
                  </a:rPr>
                  <a:t>trategy</a:t>
                </a: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 &amp; governance to r</a:t>
                </a:r>
                <a:r>
                  <a:rPr lang="en-US" sz="894" b="1" spc="-16" dirty="0" err="1">
                    <a:solidFill>
                      <a:srgbClr val="19233E"/>
                    </a:solidFill>
                    <a:latin typeface="Montserrat Medium"/>
                  </a:rPr>
                  <a:t>ecruitment</a:t>
                </a: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 teams: 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errors and delays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7FF8F1FD-CC08-4DF0-B7CF-EB849171D55B}"/>
                  </a:ext>
                </a:extLst>
              </p:cNvPr>
              <p:cNvSpPr/>
              <p:nvPr/>
            </p:nvSpPr>
            <p:spPr>
              <a:xfrm>
                <a:off x="4187843" y="3239563"/>
                <a:ext cx="2039936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29250" tIns="29250" rIns="29250" bIns="292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71453">
                  <a:spcBef>
                    <a:spcPts val="325"/>
                  </a:spcBef>
                  <a:spcAft>
                    <a:spcPts val="163"/>
                  </a:spcAft>
                  <a:defRPr/>
                </a:pP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fragmented workflows across 7 processes &amp; systems</a:t>
                </a:r>
              </a:p>
              <a:p>
                <a:pPr marL="215404" indent="-139303" defTabSz="371453"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double-handling &amp; delays</a:t>
                </a:r>
              </a:p>
              <a:p>
                <a:pPr defTabSz="371453">
                  <a:spcAft>
                    <a:spcPts val="163"/>
                  </a:spcAft>
                  <a:defRPr/>
                </a:pP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integrity of employee data critically impacted</a:t>
                </a:r>
                <a:r>
                  <a:rPr lang="en-US" sz="894" dirty="0">
                    <a:solidFill>
                      <a:srgbClr val="19233E"/>
                    </a:solidFill>
                    <a:latin typeface="Montserrat Medium"/>
                  </a:rPr>
                  <a:t>: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errors and delays</a:t>
                </a:r>
              </a:p>
              <a:p>
                <a:pPr defTabSz="371453">
                  <a:spcBef>
                    <a:spcPts val="325"/>
                  </a:spcBef>
                  <a:spcAft>
                    <a:spcPts val="163"/>
                  </a:spcAft>
                  <a:defRPr/>
                </a:pP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essential employee data stored on standalone </a:t>
                </a:r>
                <a:b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</a:b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end-user systems: 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high operational risk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6167CFC-0FC7-4AE4-8F86-8E5FD172DC92}"/>
                  </a:ext>
                </a:extLst>
              </p:cNvPr>
              <p:cNvSpPr/>
              <p:nvPr/>
            </p:nvSpPr>
            <p:spPr>
              <a:xfrm>
                <a:off x="6479075" y="3239563"/>
                <a:ext cx="3601346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29250" tIns="29250" rIns="29250" bIns="29250" numCol="2" spcCol="21600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71453">
                  <a:spcAft>
                    <a:spcPts val="163"/>
                  </a:spcAft>
                  <a:defRPr/>
                </a:pP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no visibility of process status for recruitment</a:t>
                </a:r>
              </a:p>
              <a:p>
                <a:pPr marL="215404" indent="-139303" defTabSz="371453"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increased calls to EDConnect </a:t>
                </a:r>
              </a:p>
              <a:p>
                <a:pPr marL="215404" indent="-139303" defTabSz="371453"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risk of delayed processing of requests</a:t>
                </a:r>
              </a:p>
              <a:p>
                <a:pPr defTabSz="371453">
                  <a:spcBef>
                    <a:spcPts val="325"/>
                  </a:spcBef>
                  <a:spcAft>
                    <a:spcPts val="163"/>
                  </a:spcAft>
                  <a:defRPr/>
                </a:pP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r</a:t>
                </a:r>
                <a:r>
                  <a:rPr lang="en-US" sz="894" b="1" dirty="0" err="1">
                    <a:solidFill>
                      <a:srgbClr val="19233E"/>
                    </a:solidFill>
                    <a:latin typeface="Montserrat Medium"/>
                  </a:rPr>
                  <a:t>epeated</a:t>
                </a: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 manual </a:t>
                </a:r>
                <a:b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</a:b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re-entry of data in multiple systems </a:t>
                </a:r>
              </a:p>
              <a:p>
                <a:pPr marL="215404" indent="-139303" defTabSz="371453"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processing delays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endParaRPr lang="en-US" sz="894" spc="-16" dirty="0">
                  <a:solidFill>
                    <a:srgbClr val="19233E"/>
                  </a:solidFill>
                  <a:latin typeface="Montserrat Medium"/>
                </a:endParaRPr>
              </a:p>
              <a:p>
                <a:pPr defTabSz="371453">
                  <a:spcAft>
                    <a:spcPts val="163"/>
                  </a:spcAft>
                  <a:defRPr/>
                </a:pPr>
                <a:endParaRPr lang="en-US" sz="894" b="1" dirty="0">
                  <a:solidFill>
                    <a:srgbClr val="19233E"/>
                  </a:solidFill>
                  <a:latin typeface="Montserrat Medium"/>
                </a:endParaRPr>
              </a:p>
              <a:p>
                <a:pPr defTabSz="371453">
                  <a:spcAft>
                    <a:spcPts val="163"/>
                  </a:spcAft>
                  <a:defRPr/>
                </a:pPr>
                <a:endParaRPr lang="en-US" sz="894" b="1" dirty="0">
                  <a:solidFill>
                    <a:srgbClr val="19233E"/>
                  </a:solidFill>
                  <a:latin typeface="Montserrat Medium"/>
                </a:endParaRPr>
              </a:p>
              <a:p>
                <a:pPr defTabSz="371453">
                  <a:spcAft>
                    <a:spcPts val="163"/>
                  </a:spcAft>
                  <a:defRPr/>
                </a:pP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m</a:t>
                </a:r>
                <a:r>
                  <a:rPr lang="en-US" sz="894" b="1" dirty="0" err="1">
                    <a:solidFill>
                      <a:srgbClr val="19233E"/>
                    </a:solidFill>
                    <a:latin typeface="Montserrat Medium"/>
                  </a:rPr>
                  <a:t>anual</a:t>
                </a: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 data exchange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repetitive entry into payroll of bonus payments for Rural staff</a:t>
                </a:r>
              </a:p>
              <a:p>
                <a:pPr defTabSz="371453">
                  <a:spcBef>
                    <a:spcPts val="163"/>
                  </a:spcBef>
                  <a:defRPr/>
                </a:pPr>
                <a:r>
                  <a:rPr lang="en-US" sz="894" b="1" spc="-16" dirty="0">
                    <a:solidFill>
                      <a:srgbClr val="19233E"/>
                    </a:solidFill>
                    <a:latin typeface="Montserrat Medium"/>
                  </a:rPr>
                  <a:t>manual &amp; inconsistent </a:t>
                </a: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vacancy matching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severe impact to teacher career mobility 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degradation of teacher skills information</a:t>
                </a: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8D0E836-2E15-4FD8-AAEC-39351192548C}"/>
                  </a:ext>
                </a:extLst>
              </p:cNvPr>
              <p:cNvSpPr/>
              <p:nvPr/>
            </p:nvSpPr>
            <p:spPr>
              <a:xfrm>
                <a:off x="10333887" y="3239563"/>
                <a:ext cx="1669744" cy="2808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ot="0" spcFirstLastPara="0" vertOverflow="overflow" horzOverflow="overflow" vert="horz" wrap="square" lIns="29250" tIns="29250" rIns="29250" bIns="292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71453">
                  <a:spcAft>
                    <a:spcPts val="163"/>
                  </a:spcAft>
                  <a:defRPr/>
                </a:pP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late access to systems for 31% of staff: 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delays in services to schools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temporary under-staffing</a:t>
                </a:r>
              </a:p>
              <a:p>
                <a:pPr defTabSz="371453">
                  <a:spcBef>
                    <a:spcPts val="325"/>
                  </a:spcBef>
                  <a:spcAft>
                    <a:spcPts val="163"/>
                  </a:spcAft>
                  <a:defRPr/>
                </a:pP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i</a:t>
                </a:r>
                <a:r>
                  <a:rPr lang="en-US" sz="894" b="1" dirty="0" err="1">
                    <a:solidFill>
                      <a:srgbClr val="19233E"/>
                    </a:solidFill>
                    <a:latin typeface="Montserrat Medium"/>
                  </a:rPr>
                  <a:t>ncomplete</a:t>
                </a:r>
                <a:r>
                  <a:rPr lang="en-US" sz="894" b="1" dirty="0">
                    <a:solidFill>
                      <a:srgbClr val="19233E"/>
                    </a:solidFill>
                    <a:latin typeface="Montserrat Medium"/>
                  </a:rPr>
                  <a:t> mandatory training</a:t>
                </a:r>
              </a:p>
              <a:p>
                <a:pPr marL="215404" indent="-139303" defTabSz="371453">
                  <a:spcBef>
                    <a:spcPts val="163"/>
                  </a:spcBef>
                  <a:spcAft>
                    <a:spcPts val="163"/>
                  </a:spcAft>
                  <a:buFont typeface="Montserrat Medium" panose="00000600000000000000" pitchFamily="2" charset="0"/>
                  <a:buChar char="→"/>
                  <a:defRPr/>
                </a:pPr>
                <a:r>
                  <a:rPr lang="en-US" sz="894" spc="-16" dirty="0">
                    <a:solidFill>
                      <a:srgbClr val="19233E"/>
                    </a:solidFill>
                    <a:latin typeface="Montserrat Medium"/>
                  </a:rPr>
                  <a:t>compliance exposure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713257" y="3275463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298" name="Picture 297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776237" y="4737205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299" name="Picture 298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4032262" y="3272151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0" name="Picture 299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4032262" y="3981483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1" name="Picture 300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4032262" y="4607120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2" name="Picture 301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6347594" y="3291492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3" name="Picture 302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6347594" y="4545085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4" name="Picture 303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8214514" y="3291492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5" name="Picture 304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8214514" y="4240969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6" name="Picture 305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0177260" y="3291493"/>
                <a:ext cx="108000" cy="237600"/>
              </a:xfrm>
              <a:prstGeom prst="rect">
                <a:avLst/>
              </a:prstGeom>
            </p:spPr>
          </p:pic>
          <p:pic>
            <p:nvPicPr>
              <p:cNvPr id="307" name="Picture 306"/>
              <p:cNvPicPr>
                <a:picLocks noChangeAspect="1"/>
              </p:cNvPicPr>
              <p:nvPr/>
            </p:nvPicPr>
            <p:blipFill>
              <a:blip r:embed="rId3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-1740000">
                <a:off x="10191724" y="4452657"/>
                <a:ext cx="108000" cy="237600"/>
              </a:xfrm>
              <a:prstGeom prst="rect">
                <a:avLst/>
              </a:prstGeom>
            </p:spPr>
          </p:pic>
        </p:grpSp>
      </p:grpSp>
      <p:grpSp>
        <p:nvGrpSpPr>
          <p:cNvPr id="308" name="Group 307"/>
          <p:cNvGrpSpPr/>
          <p:nvPr/>
        </p:nvGrpSpPr>
        <p:grpSpPr>
          <a:xfrm>
            <a:off x="1311187" y="1982667"/>
            <a:ext cx="8396141" cy="351000"/>
            <a:chOff x="1466606" y="1440484"/>
            <a:chExt cx="10333712" cy="326328"/>
          </a:xfrm>
        </p:grpSpPr>
        <p:sp>
          <p:nvSpPr>
            <p:cNvPr id="309" name="Pentagon 308"/>
            <p:cNvSpPr/>
            <p:nvPr/>
          </p:nvSpPr>
          <p:spPr>
            <a:xfrm>
              <a:off x="1466606" y="1445644"/>
              <a:ext cx="4632622" cy="316008"/>
            </a:xfrm>
            <a:prstGeom prst="homePlate">
              <a:avLst/>
            </a:prstGeom>
            <a:solidFill>
              <a:srgbClr val="E9C4C7">
                <a:alpha val="3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>
                <a:defRPr/>
              </a:pPr>
              <a:r>
                <a:rPr lang="en-AU" sz="1625" dirty="0">
                  <a:solidFill>
                    <a:srgbClr val="000000"/>
                  </a:solidFill>
                  <a:latin typeface="Montserrat Medium"/>
                </a:rPr>
                <a:t>Plan</a:t>
              </a:r>
            </a:p>
          </p:txBody>
        </p:sp>
        <p:sp>
          <p:nvSpPr>
            <p:cNvPr id="310" name="Chevron 309"/>
            <p:cNvSpPr/>
            <p:nvPr/>
          </p:nvSpPr>
          <p:spPr>
            <a:xfrm>
              <a:off x="6024521" y="1440484"/>
              <a:ext cx="3923747" cy="326328"/>
            </a:xfrm>
            <a:prstGeom prst="chevron">
              <a:avLst/>
            </a:prstGeom>
            <a:solidFill>
              <a:srgbClr val="A4C8E1">
                <a:alpha val="4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>
                <a:defRPr/>
              </a:pPr>
              <a:r>
                <a:rPr lang="en-AU" sz="1625" dirty="0">
                  <a:solidFill>
                    <a:srgbClr val="000000"/>
                  </a:solidFill>
                  <a:latin typeface="Montserrat Medium"/>
                </a:rPr>
                <a:t>Recruit &amp; Select</a:t>
              </a:r>
            </a:p>
          </p:txBody>
        </p:sp>
        <p:sp>
          <p:nvSpPr>
            <p:cNvPr id="311" name="Chevron 310"/>
            <p:cNvSpPr/>
            <p:nvPr/>
          </p:nvSpPr>
          <p:spPr>
            <a:xfrm>
              <a:off x="9858668" y="1440484"/>
              <a:ext cx="1941650" cy="326328"/>
            </a:xfrm>
            <a:prstGeom prst="chevron">
              <a:avLst/>
            </a:prstGeom>
            <a:solidFill>
              <a:srgbClr val="E6E7EA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>
                <a:defRPr/>
              </a:pPr>
              <a:r>
                <a:rPr lang="en-AU" sz="1625" dirty="0" err="1">
                  <a:solidFill>
                    <a:srgbClr val="000000"/>
                  </a:solidFill>
                  <a:latin typeface="Montserrat Medium"/>
                </a:rPr>
                <a:t>Onboard</a:t>
              </a:r>
              <a:endParaRPr lang="en-AU" sz="1625" dirty="0">
                <a:solidFill>
                  <a:srgbClr val="000000"/>
                </a:solidFill>
                <a:latin typeface="Montserrat Medium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04678" y="2509143"/>
            <a:ext cx="9469552" cy="351000"/>
            <a:chOff x="297195" y="1932983"/>
            <a:chExt cx="11654833" cy="432000"/>
          </a:xfrm>
        </p:grpSpPr>
        <p:sp>
          <p:nvSpPr>
            <p:cNvPr id="23" name="TextBox 22"/>
            <p:cNvSpPr txBox="1"/>
            <p:nvPr/>
          </p:nvSpPr>
          <p:spPr>
            <a:xfrm>
              <a:off x="1643145" y="1932983"/>
              <a:ext cx="2232000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975" dirty="0">
                  <a:solidFill>
                    <a:srgbClr val="FFFFFF"/>
                  </a:solidFill>
                  <a:latin typeface="Montserrat Medium"/>
                </a:rPr>
                <a:t>Workforce Planning</a:t>
              </a:r>
              <a:endParaRPr lang="en-AU" sz="975" b="1" dirty="0">
                <a:solidFill>
                  <a:srgbClr val="FFFFFF"/>
                </a:solidFill>
                <a:latin typeface="Montserrat Medium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943932" y="1932983"/>
              <a:ext cx="2272411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975" dirty="0">
                  <a:solidFill>
                    <a:srgbClr val="FFFFFF"/>
                  </a:solidFill>
                  <a:latin typeface="Montserrat Medium"/>
                </a:rPr>
                <a:t>Position &amp; O</a:t>
              </a:r>
              <a:r>
                <a:rPr lang="en-AU" sz="975" dirty="0" err="1">
                  <a:solidFill>
                    <a:srgbClr val="FFFFFF"/>
                  </a:solidFill>
                  <a:latin typeface="Montserrat Medium"/>
                </a:rPr>
                <a:t>rganisation</a:t>
              </a:r>
              <a:r>
                <a:rPr lang="en-AU" sz="975" dirty="0">
                  <a:solidFill>
                    <a:srgbClr val="FFFFFF"/>
                  </a:solidFill>
                  <a:latin typeface="Montserrat Medium"/>
                </a:rPr>
                <a:t> M</a:t>
              </a:r>
              <a:r>
                <a:rPr lang="en-AU" sz="975" dirty="0" err="1">
                  <a:solidFill>
                    <a:srgbClr val="FFFFFF"/>
                  </a:solidFill>
                  <a:latin typeface="Montserrat Medium"/>
                </a:rPr>
                <a:t>anagement</a:t>
              </a:r>
              <a:endParaRPr lang="en-AU" sz="975" b="1" dirty="0">
                <a:solidFill>
                  <a:srgbClr val="FFFFFF"/>
                </a:solidFill>
                <a:latin typeface="Montserrat Medium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6285130" y="1932983"/>
              <a:ext cx="3798110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975" dirty="0">
                  <a:solidFill>
                    <a:srgbClr val="FFFFFF"/>
                  </a:solidFill>
                  <a:latin typeface="Montserrat Medium"/>
                </a:rPr>
                <a:t>Recruitment</a:t>
              </a:r>
              <a:endParaRPr lang="en-AU" sz="975" b="1" dirty="0">
                <a:solidFill>
                  <a:srgbClr val="FFFFFF"/>
                </a:solidFill>
                <a:latin typeface="Montserrat Medium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0152028" y="1932983"/>
              <a:ext cx="1800000" cy="432000"/>
            </a:xfrm>
            <a:prstGeom prst="rect">
              <a:avLst/>
            </a:prstGeom>
            <a:solidFill>
              <a:srgbClr val="1D428A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975" dirty="0" err="1">
                  <a:solidFill>
                    <a:srgbClr val="FFFFFF"/>
                  </a:solidFill>
                  <a:latin typeface="Montserrat Medium"/>
                </a:rPr>
                <a:t>Onboarding</a:t>
              </a:r>
              <a:endParaRPr lang="en-AU" sz="1138" b="1" dirty="0">
                <a:solidFill>
                  <a:srgbClr val="FFFFFF"/>
                </a:solidFill>
                <a:latin typeface="Montserrat Medium"/>
              </a:endParaRPr>
            </a:p>
          </p:txBody>
        </p:sp>
        <p:grpSp>
          <p:nvGrpSpPr>
            <p:cNvPr id="312" name="Group 311"/>
            <p:cNvGrpSpPr/>
            <p:nvPr/>
          </p:nvGrpSpPr>
          <p:grpSpPr>
            <a:xfrm>
              <a:off x="297195" y="1935106"/>
              <a:ext cx="1229664" cy="429877"/>
              <a:chOff x="250331" y="1821304"/>
              <a:chExt cx="1229664" cy="429877"/>
            </a:xfrm>
          </p:grpSpPr>
          <p:sp>
            <p:nvSpPr>
              <p:cNvPr id="313" name="TextBox 312"/>
              <p:cNvSpPr txBox="1"/>
              <p:nvPr/>
            </p:nvSpPr>
            <p:spPr>
              <a:xfrm>
                <a:off x="250331" y="1821304"/>
                <a:ext cx="1229664" cy="429877"/>
              </a:xfrm>
              <a:prstGeom prst="chevron">
                <a:avLst/>
              </a:prstGeom>
              <a:solidFill>
                <a:srgbClr val="1D428A"/>
              </a:solidFill>
              <a:ln>
                <a:solidFill>
                  <a:srgbClr val="1D428A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742950">
                  <a:defRPr/>
                </a:pPr>
                <a:r>
                  <a:rPr lang="en-AU" sz="1138" dirty="0">
                    <a:solidFill>
                      <a:srgbClr val="000000"/>
                    </a:solidFill>
                    <a:latin typeface="Montserrat Medium"/>
                  </a:rPr>
                  <a:t>  </a:t>
                </a:r>
                <a:endParaRPr lang="en-AU" sz="1056" dirty="0">
                  <a:solidFill>
                    <a:srgbClr val="000000"/>
                  </a:solidFill>
                  <a:latin typeface="Montserrat Medium"/>
                </a:endParaRPr>
              </a:p>
            </p:txBody>
          </p:sp>
          <p:sp>
            <p:nvSpPr>
              <p:cNvPr id="314" name="TextBox 313"/>
              <p:cNvSpPr txBox="1"/>
              <p:nvPr/>
            </p:nvSpPr>
            <p:spPr>
              <a:xfrm>
                <a:off x="665500" y="1896889"/>
                <a:ext cx="599761" cy="263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742950">
                  <a:lnSpc>
                    <a:spcPct val="80000"/>
                  </a:lnSpc>
                  <a:defRPr/>
                </a:pPr>
                <a:r>
                  <a:rPr lang="en-AU" sz="894" b="1" dirty="0">
                    <a:solidFill>
                      <a:srgbClr val="FFFFFF"/>
                    </a:solidFill>
                    <a:latin typeface="Montserrat Medium"/>
                  </a:rPr>
                  <a:t>s</a:t>
                </a:r>
                <a:r>
                  <a:rPr lang="en-AU" sz="894" b="1" dirty="0" err="1">
                    <a:solidFill>
                      <a:srgbClr val="FFFFFF"/>
                    </a:solidFill>
                    <a:latin typeface="Montserrat Medium"/>
                  </a:rPr>
                  <a:t>ervice</a:t>
                </a:r>
                <a:r>
                  <a:rPr lang="en-AU" sz="894" b="1" dirty="0">
                    <a:solidFill>
                      <a:srgbClr val="FFFFFF"/>
                    </a:solidFill>
                    <a:latin typeface="Montserrat Medium"/>
                  </a:rPr>
                  <a:t> </a:t>
                </a:r>
              </a:p>
              <a:p>
                <a:pPr algn="ctr" defTabSz="742950">
                  <a:lnSpc>
                    <a:spcPct val="80000"/>
                  </a:lnSpc>
                  <a:defRPr/>
                </a:pPr>
                <a:r>
                  <a:rPr lang="en-AU" sz="894" b="1" dirty="0">
                    <a:solidFill>
                      <a:srgbClr val="FFFFFF"/>
                    </a:solidFill>
                    <a:latin typeface="Montserrat Medium"/>
                  </a:rPr>
                  <a:t>groups</a:t>
                </a:r>
                <a:endParaRPr lang="en-AU" sz="813" b="1" dirty="0">
                  <a:solidFill>
                    <a:srgbClr val="FFFFFF"/>
                  </a:solidFill>
                  <a:latin typeface="Montserrat Medium"/>
                </a:endParaRPr>
              </a:p>
            </p:txBody>
          </p:sp>
          <p:sp>
            <p:nvSpPr>
              <p:cNvPr id="315" name="TextBox 314"/>
              <p:cNvSpPr txBox="1"/>
              <p:nvPr/>
            </p:nvSpPr>
            <p:spPr>
              <a:xfrm>
                <a:off x="527497" y="1936053"/>
                <a:ext cx="291312" cy="1829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defTabSz="371453"/>
                <a:r>
                  <a:rPr lang="en-AU" sz="975" dirty="0">
                    <a:solidFill>
                      <a:srgbClr val="FFFFFF"/>
                    </a:solidFill>
                    <a:latin typeface="Montserrat Medium"/>
                  </a:rPr>
                  <a:t>4</a:t>
                </a: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204678" y="3035619"/>
            <a:ext cx="9470800" cy="361747"/>
            <a:chOff x="295659" y="2476531"/>
            <a:chExt cx="11656369" cy="445227"/>
          </a:xfrm>
        </p:grpSpPr>
        <p:sp>
          <p:nvSpPr>
            <p:cNvPr id="105" name="TextBox 104"/>
            <p:cNvSpPr txBox="1"/>
            <p:nvPr/>
          </p:nvSpPr>
          <p:spPr>
            <a:xfrm>
              <a:off x="1643146" y="2476531"/>
              <a:ext cx="2232000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1138" dirty="0">
                  <a:solidFill>
                    <a:srgbClr val="FFFFFF"/>
                  </a:solidFill>
                  <a:latin typeface="Montserrat Medium" panose="00000600000000000000" pitchFamily="2" charset="0"/>
                </a:rPr>
                <a:t>73 (15%)</a:t>
              </a:r>
              <a:endParaRPr lang="en-AU" sz="1138" b="1" dirty="0">
                <a:solidFill>
                  <a:srgbClr val="FFFFFF"/>
                </a:solidFill>
                <a:latin typeface="Montserrat Medium" panose="00000600000000000000" pitchFamily="2" charset="0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943933" y="2476531"/>
              <a:ext cx="2272411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1138" dirty="0">
                  <a:solidFill>
                    <a:srgbClr val="FFFFFF"/>
                  </a:solidFill>
                  <a:latin typeface="Montserrat Medium" panose="00000600000000000000" pitchFamily="2" charset="0"/>
                </a:rPr>
                <a:t>45 (10%)</a:t>
              </a:r>
              <a:endParaRPr lang="en-AU" sz="1138" b="1" dirty="0">
                <a:solidFill>
                  <a:srgbClr val="FFFFFF"/>
                </a:solidFill>
                <a:latin typeface="Montserrat Medium" panose="00000600000000000000" pitchFamily="2" charset="0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6285131" y="2476531"/>
              <a:ext cx="3798110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1138" dirty="0">
                  <a:solidFill>
                    <a:srgbClr val="FFFFFF"/>
                  </a:solidFill>
                  <a:latin typeface="Montserrat Medium" panose="00000600000000000000" pitchFamily="2" charset="0"/>
                </a:rPr>
                <a:t>269 (58%)</a:t>
              </a:r>
              <a:endParaRPr lang="en-AU" sz="1138" b="1" dirty="0">
                <a:solidFill>
                  <a:srgbClr val="FFFFFF"/>
                </a:solidFill>
                <a:latin typeface="Montserrat Medium" panose="00000600000000000000" pitchFamily="2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10152028" y="2476531"/>
              <a:ext cx="1800000" cy="432000"/>
            </a:xfrm>
            <a:prstGeom prst="rect">
              <a:avLst/>
            </a:prstGeom>
            <a:solidFill>
              <a:srgbClr val="D70C3D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742950">
                <a:defRPr/>
              </a:pPr>
              <a:r>
                <a:rPr lang="en-AU" sz="1138" dirty="0">
                  <a:solidFill>
                    <a:srgbClr val="FFFFFF"/>
                  </a:solidFill>
                  <a:latin typeface="Montserrat Medium" panose="00000600000000000000" pitchFamily="2" charset="0"/>
                </a:rPr>
                <a:t>78 (17%)</a:t>
              </a:r>
              <a:endParaRPr lang="en-AU" sz="1138" b="1" dirty="0">
                <a:solidFill>
                  <a:srgbClr val="FFFFFF"/>
                </a:solidFill>
                <a:latin typeface="Montserrat Medium" panose="00000600000000000000" pitchFamily="2" charset="0"/>
              </a:endParaRPr>
            </a:p>
          </p:txBody>
        </p:sp>
        <p:grpSp>
          <p:nvGrpSpPr>
            <p:cNvPr id="316" name="Group 315"/>
            <p:cNvGrpSpPr/>
            <p:nvPr/>
          </p:nvGrpSpPr>
          <p:grpSpPr>
            <a:xfrm>
              <a:off x="295659" y="2476531"/>
              <a:ext cx="1231200" cy="445227"/>
              <a:chOff x="167049" y="4117834"/>
              <a:chExt cx="1231200" cy="445227"/>
            </a:xfrm>
          </p:grpSpPr>
          <p:sp>
            <p:nvSpPr>
              <p:cNvPr id="317" name="TextBox 316"/>
              <p:cNvSpPr txBox="1"/>
              <p:nvPr/>
            </p:nvSpPr>
            <p:spPr>
              <a:xfrm>
                <a:off x="167049" y="4117834"/>
                <a:ext cx="1231200" cy="396362"/>
              </a:xfrm>
              <a:prstGeom prst="chevron">
                <a:avLst/>
              </a:prstGeom>
              <a:solidFill>
                <a:srgbClr val="D70C3D"/>
              </a:solidFill>
              <a:ln>
                <a:solidFill>
                  <a:srgbClr val="C8C9C7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742950">
                  <a:defRPr/>
                </a:pPr>
                <a:r>
                  <a:rPr lang="en-AU" sz="1138" dirty="0">
                    <a:solidFill>
                      <a:srgbClr val="000000"/>
                    </a:solidFill>
                    <a:latin typeface="Montserrat Medium"/>
                  </a:rPr>
                  <a:t>  </a:t>
                </a:r>
                <a:endParaRPr lang="en-AU" sz="975" dirty="0">
                  <a:solidFill>
                    <a:srgbClr val="000000"/>
                  </a:solidFill>
                  <a:latin typeface="Montserrat Medium"/>
                </a:endParaRPr>
              </a:p>
            </p:txBody>
          </p:sp>
          <p:sp>
            <p:nvSpPr>
              <p:cNvPr id="318" name="TextBox 317"/>
              <p:cNvSpPr txBox="1"/>
              <p:nvPr/>
            </p:nvSpPr>
            <p:spPr>
              <a:xfrm>
                <a:off x="771902" y="4192159"/>
                <a:ext cx="469832" cy="37090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742950">
                  <a:lnSpc>
                    <a:spcPct val="80000"/>
                  </a:lnSpc>
                  <a:defRPr/>
                </a:pPr>
                <a:r>
                  <a:rPr lang="en-AU" sz="894" b="1" dirty="0">
                    <a:solidFill>
                      <a:srgbClr val="FFFFFF"/>
                    </a:solidFill>
                    <a:latin typeface="Montserrat Medium"/>
                  </a:rPr>
                  <a:t>p</a:t>
                </a:r>
                <a:r>
                  <a:rPr lang="en-AU" sz="894" b="1" dirty="0" err="1">
                    <a:solidFill>
                      <a:srgbClr val="FFFFFF"/>
                    </a:solidFill>
                    <a:latin typeface="Montserrat Medium"/>
                  </a:rPr>
                  <a:t>ain</a:t>
                </a:r>
                <a:r>
                  <a:rPr lang="en-AU" sz="894" b="1" dirty="0">
                    <a:solidFill>
                      <a:srgbClr val="FFFFFF"/>
                    </a:solidFill>
                    <a:latin typeface="Montserrat Medium"/>
                  </a:rPr>
                  <a:t> </a:t>
                </a:r>
              </a:p>
              <a:p>
                <a:pPr defTabSz="742950">
                  <a:lnSpc>
                    <a:spcPct val="80000"/>
                  </a:lnSpc>
                  <a:defRPr/>
                </a:pPr>
                <a:r>
                  <a:rPr lang="en-AU" sz="894" b="1" dirty="0">
                    <a:solidFill>
                      <a:srgbClr val="FFFFFF"/>
                    </a:solidFill>
                    <a:latin typeface="Montserrat Medium"/>
                  </a:rPr>
                  <a:t>p</a:t>
                </a:r>
                <a:r>
                  <a:rPr lang="en-AU" sz="894" b="1" dirty="0" err="1">
                    <a:solidFill>
                      <a:srgbClr val="FFFFFF"/>
                    </a:solidFill>
                    <a:latin typeface="Montserrat Medium"/>
                  </a:rPr>
                  <a:t>oints</a:t>
                </a:r>
                <a:r>
                  <a:rPr lang="en-AU" sz="894" b="1" dirty="0">
                    <a:solidFill>
                      <a:srgbClr val="FFFFFF"/>
                    </a:solidFill>
                    <a:latin typeface="Montserrat Medium"/>
                  </a:rPr>
                  <a:t> </a:t>
                </a:r>
                <a:endParaRPr lang="en-AU" sz="813" b="1" dirty="0">
                  <a:solidFill>
                    <a:srgbClr val="FFFFFF"/>
                  </a:solidFill>
                  <a:latin typeface="Montserrat Medium"/>
                </a:endParaRPr>
              </a:p>
            </p:txBody>
          </p:sp>
          <p:sp>
            <p:nvSpPr>
              <p:cNvPr id="319" name="TextBox 318"/>
              <p:cNvSpPr txBox="1"/>
              <p:nvPr/>
            </p:nvSpPr>
            <p:spPr>
              <a:xfrm>
                <a:off x="407720" y="4210872"/>
                <a:ext cx="402578" cy="1829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defTabSz="371453"/>
                <a:r>
                  <a:rPr lang="en-AU" sz="975" spc="-24" dirty="0">
                    <a:solidFill>
                      <a:srgbClr val="FFFFFF"/>
                    </a:solidFill>
                    <a:latin typeface="Montserrat Medium"/>
                  </a:rPr>
                  <a:t>46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94358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Title 4">
            <a:extLst>
              <a:ext uri="{FF2B5EF4-FFF2-40B4-BE49-F238E27FC236}">
                <a16:creationId xmlns:a16="http://schemas.microsoft.com/office/drawing/2014/main" id="{4EAD0668-2751-400D-ACBC-E5D0D77AA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570" y="1134632"/>
            <a:ext cx="9600014" cy="405007"/>
          </a:xfrm>
        </p:spPr>
        <p:txBody>
          <a:bodyPr/>
          <a:lstStyle/>
          <a:p>
            <a:r>
              <a:rPr lang="en-AU" dirty="0" smtClean="0">
                <a:latin typeface="+mj-lt"/>
              </a:rPr>
              <a:t>What are our targets?</a:t>
            </a:r>
            <a:endParaRPr lang="en-AU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5E2732-0C33-4172-A116-3DE890706A9C}"/>
              </a:ext>
            </a:extLst>
          </p:cNvPr>
          <p:cNvSpPr txBox="1"/>
          <p:nvPr/>
        </p:nvSpPr>
        <p:spPr>
          <a:xfrm>
            <a:off x="5990498" y="5796037"/>
            <a:ext cx="3017056" cy="3228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650" b="1" dirty="0">
                <a:solidFill>
                  <a:srgbClr val="000000"/>
                </a:solidFill>
                <a:latin typeface="Montserrat"/>
              </a:rPr>
              <a:t>Sources:   </a:t>
            </a:r>
            <a:r>
              <a:rPr lang="en-AU" sz="569" dirty="0">
                <a:solidFill>
                  <a:srgbClr val="000000"/>
                </a:solidFill>
                <a:latin typeface="Montserrat"/>
              </a:rPr>
              <a:t>1  HCM c</a:t>
            </a:r>
            <a:r>
              <a:rPr lang="en-AU" sz="569" dirty="0" err="1">
                <a:solidFill>
                  <a:srgbClr val="000000"/>
                </a:solidFill>
                <a:latin typeface="Montserrat"/>
              </a:rPr>
              <a:t>urrent</a:t>
            </a:r>
            <a:r>
              <a:rPr lang="en-AU" sz="569" dirty="0">
                <a:solidFill>
                  <a:srgbClr val="000000"/>
                </a:solidFill>
                <a:latin typeface="Montserrat"/>
              </a:rPr>
              <a:t> state business process analysis	</a:t>
            </a:r>
            <a:br>
              <a:rPr lang="en-AU" sz="569" dirty="0">
                <a:solidFill>
                  <a:srgbClr val="000000"/>
                </a:solidFill>
                <a:latin typeface="Montserrat"/>
              </a:rPr>
            </a:br>
            <a:r>
              <a:rPr lang="en-AU" sz="569" dirty="0">
                <a:solidFill>
                  <a:srgbClr val="000000"/>
                </a:solidFill>
                <a:latin typeface="Montserrat"/>
              </a:rPr>
              <a:t>                      2  HR recruitment dashboard	    </a:t>
            </a:r>
            <a:br>
              <a:rPr lang="en-AU" sz="569" dirty="0">
                <a:solidFill>
                  <a:srgbClr val="000000"/>
                </a:solidFill>
                <a:latin typeface="Montserrat"/>
              </a:rPr>
            </a:br>
            <a:r>
              <a:rPr lang="en-AU" sz="569" dirty="0">
                <a:solidFill>
                  <a:srgbClr val="000000"/>
                </a:solidFill>
                <a:latin typeface="Montserrat"/>
              </a:rPr>
              <a:t>                      </a:t>
            </a:r>
            <a:r>
              <a:rPr lang="en-AU" sz="569" dirty="0">
                <a:solidFill>
                  <a:srgbClr val="19233E"/>
                </a:solidFill>
                <a:latin typeface="Montserrat"/>
              </a:rPr>
              <a:t>3  Ernst &amp; Young - </a:t>
            </a:r>
            <a:r>
              <a:rPr lang="en-US" sz="569" dirty="0">
                <a:solidFill>
                  <a:srgbClr val="19233E"/>
                </a:solidFill>
                <a:latin typeface="Montserrat"/>
                <a:hlinkClick r:id="rId3"/>
              </a:rPr>
              <a:t>the future workplace: how to automate intelligently</a:t>
            </a:r>
            <a:r>
              <a:rPr lang="en-AU" sz="569" dirty="0">
                <a:solidFill>
                  <a:srgbClr val="19233E"/>
                </a:solidFill>
                <a:latin typeface="Montserrat"/>
                <a:hlinkClick r:id="rId3"/>
              </a:rPr>
              <a:t>  </a:t>
            </a:r>
            <a:endParaRPr lang="en-AU" sz="569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D1F91E3-D399-4B9A-A5E4-8B9190CAA7D8}"/>
              </a:ext>
            </a:extLst>
          </p:cNvPr>
          <p:cNvSpPr/>
          <p:nvPr/>
        </p:nvSpPr>
        <p:spPr>
          <a:xfrm>
            <a:off x="1960558" y="1989725"/>
            <a:ext cx="6817052" cy="70044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"/>
            </a:endParaRPr>
          </a:p>
        </p:txBody>
      </p:sp>
      <p:pic>
        <p:nvPicPr>
          <p:cNvPr id="190" name="Graphic 189" descr="Gears">
            <a:extLst>
              <a:ext uri="{FF2B5EF4-FFF2-40B4-BE49-F238E27FC236}">
                <a16:creationId xmlns:a16="http://schemas.microsoft.com/office/drawing/2014/main" id="{57E40E6F-643B-4C8B-A37F-E5F60C458D0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42365" y="2577741"/>
            <a:ext cx="190817" cy="204750"/>
          </a:xfrm>
          <a:prstGeom prst="rect">
            <a:avLst/>
          </a:prstGeom>
          <a:noFill/>
        </p:spPr>
      </p:pic>
      <p:pic>
        <p:nvPicPr>
          <p:cNvPr id="191" name="Graphic 190" descr="Sign language">
            <a:extLst>
              <a:ext uri="{FF2B5EF4-FFF2-40B4-BE49-F238E27FC236}">
                <a16:creationId xmlns:a16="http://schemas.microsoft.com/office/drawing/2014/main" id="{4F3F0D57-B7E8-40F4-8ECB-4C445601935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2539" y="2577741"/>
            <a:ext cx="190817" cy="204750"/>
          </a:xfrm>
          <a:prstGeom prst="rect">
            <a:avLst/>
          </a:prstGeom>
          <a:noFill/>
        </p:spPr>
      </p:pic>
      <p:sp>
        <p:nvSpPr>
          <p:cNvPr id="192" name="TextBox 191">
            <a:extLst>
              <a:ext uri="{FF2B5EF4-FFF2-40B4-BE49-F238E27FC236}">
                <a16:creationId xmlns:a16="http://schemas.microsoft.com/office/drawing/2014/main" id="{03836DB2-1CFE-4A41-A0A4-AAB55045CD40}"/>
              </a:ext>
            </a:extLst>
          </p:cNvPr>
          <p:cNvSpPr txBox="1"/>
          <p:nvPr/>
        </p:nvSpPr>
        <p:spPr>
          <a:xfrm>
            <a:off x="1849782" y="2795214"/>
            <a:ext cx="280902" cy="164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731" b="1" dirty="0">
                <a:solidFill>
                  <a:srgbClr val="D70C3D"/>
                </a:solidFill>
                <a:latin typeface="Montserrat"/>
              </a:rPr>
              <a:t>38%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256E90AF-DB1E-44A5-84EC-A88F3A011FE0}"/>
              </a:ext>
            </a:extLst>
          </p:cNvPr>
          <p:cNvSpPr txBox="1"/>
          <p:nvPr/>
        </p:nvSpPr>
        <p:spPr>
          <a:xfrm>
            <a:off x="2272650" y="2795214"/>
            <a:ext cx="207373" cy="164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19233E"/>
                </a:solidFill>
                <a:latin typeface="Montserrat"/>
              </a:rPr>
              <a:t>1%</a:t>
            </a:r>
          </a:p>
        </p:txBody>
      </p:sp>
      <p:pic>
        <p:nvPicPr>
          <p:cNvPr id="194" name="Graphic 193" descr="Laptop">
            <a:extLst>
              <a:ext uri="{FF2B5EF4-FFF2-40B4-BE49-F238E27FC236}">
                <a16:creationId xmlns:a16="http://schemas.microsoft.com/office/drawing/2014/main" id="{FA24F106-1848-4933-8B42-EBDE7C95E7E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03680" y="2577741"/>
            <a:ext cx="190817" cy="204750"/>
          </a:xfrm>
          <a:prstGeom prst="rect">
            <a:avLst/>
          </a:prstGeom>
          <a:noFill/>
        </p:spPr>
      </p:pic>
      <p:sp>
        <p:nvSpPr>
          <p:cNvPr id="195" name="TextBox 194">
            <a:extLst>
              <a:ext uri="{FF2B5EF4-FFF2-40B4-BE49-F238E27FC236}">
                <a16:creationId xmlns:a16="http://schemas.microsoft.com/office/drawing/2014/main" id="{19A24096-487B-49AD-BA4B-733F8AE58C60}"/>
              </a:ext>
            </a:extLst>
          </p:cNvPr>
          <p:cNvSpPr txBox="1"/>
          <p:nvPr/>
        </p:nvSpPr>
        <p:spPr>
          <a:xfrm>
            <a:off x="2079135" y="2795214"/>
            <a:ext cx="207373" cy="164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61%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9DF52CA7-200B-4EF5-A851-7831B1591120}"/>
              </a:ext>
            </a:extLst>
          </p:cNvPr>
          <p:cNvSpPr txBox="1"/>
          <p:nvPr/>
        </p:nvSpPr>
        <p:spPr>
          <a:xfrm>
            <a:off x="1790680" y="1852687"/>
            <a:ext cx="1053000" cy="46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o</a:t>
            </a:r>
            <a:r>
              <a:rPr lang="en-AU" sz="731" b="1" dirty="0" err="1">
                <a:solidFill>
                  <a:srgbClr val="000000"/>
                </a:solidFill>
                <a:latin typeface="Montserrat"/>
              </a:rPr>
              <a:t>verall</a:t>
            </a:r>
            <a:r>
              <a:rPr lang="en-AU" sz="731" b="1" dirty="0">
                <a:solidFill>
                  <a:srgbClr val="000000"/>
                </a:solidFill>
                <a:latin typeface="Montserrat"/>
              </a:rPr>
              <a:t> p</a:t>
            </a:r>
            <a:r>
              <a:rPr lang="en-AU" sz="731" b="1" dirty="0" err="1">
                <a:solidFill>
                  <a:srgbClr val="000000"/>
                </a:solidFill>
                <a:latin typeface="Montserrat"/>
              </a:rPr>
              <a:t>rocess</a:t>
            </a:r>
            <a:r>
              <a:rPr lang="en-AU" sz="731" b="1" dirty="0">
                <a:solidFill>
                  <a:srgbClr val="000000"/>
                </a:solidFill>
                <a:latin typeface="Montserrat"/>
              </a:rPr>
              <a:t> e</a:t>
            </a:r>
            <a:r>
              <a:rPr lang="en-AU" sz="731" b="1" dirty="0" err="1">
                <a:solidFill>
                  <a:srgbClr val="000000"/>
                </a:solidFill>
                <a:latin typeface="Montserrat"/>
              </a:rPr>
              <a:t>fficiency</a:t>
            </a:r>
            <a:r>
              <a:rPr lang="en-AU" sz="731" b="1" dirty="0">
                <a:solidFill>
                  <a:srgbClr val="000000"/>
                </a:solidFill>
                <a:latin typeface="Montserrat"/>
              </a:rPr>
              <a:t>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(average)</a:t>
            </a:r>
            <a:r>
              <a:rPr lang="en-AU" sz="731" b="1" baseline="30000" dirty="0">
                <a:solidFill>
                  <a:srgbClr val="000000"/>
                </a:solidFill>
                <a:latin typeface="Montserrat"/>
              </a:rPr>
              <a:t>1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B12D5DDF-4DFC-4563-9C93-5C11F78A63B1}"/>
              </a:ext>
            </a:extLst>
          </p:cNvPr>
          <p:cNvSpPr txBox="1"/>
          <p:nvPr/>
        </p:nvSpPr>
        <p:spPr>
          <a:xfrm>
            <a:off x="5469089" y="1871959"/>
            <a:ext cx="1053000" cy="46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number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of interfaces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per process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(average)</a:t>
            </a:r>
            <a:r>
              <a:rPr lang="en-AU" sz="731" b="1" baseline="30000" dirty="0">
                <a:solidFill>
                  <a:srgbClr val="000000"/>
                </a:solidFill>
                <a:latin typeface="Montserrat"/>
              </a:rPr>
              <a:t>1</a:t>
            </a:r>
            <a:endParaRPr lang="en-AU" sz="731" b="1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B68B93-3772-4DBA-AE90-8B911B667924}"/>
              </a:ext>
            </a:extLst>
          </p:cNvPr>
          <p:cNvSpPr txBox="1"/>
          <p:nvPr/>
        </p:nvSpPr>
        <p:spPr>
          <a:xfrm>
            <a:off x="5731092" y="2624594"/>
            <a:ext cx="555909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5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1C7FE52-FC1C-48FE-8348-F820D0C01095}"/>
              </a:ext>
            </a:extLst>
          </p:cNvPr>
          <p:cNvSpPr txBox="1"/>
          <p:nvPr/>
        </p:nvSpPr>
        <p:spPr>
          <a:xfrm>
            <a:off x="2955422" y="1846950"/>
            <a:ext cx="1053000" cy="46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number of steps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per process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(average)</a:t>
            </a:r>
            <a:r>
              <a:rPr lang="en-AU" sz="731" b="1" baseline="30000" dirty="0">
                <a:solidFill>
                  <a:srgbClr val="000000"/>
                </a:solidFill>
                <a:latin typeface="Montserrat"/>
              </a:rPr>
              <a:t>1</a:t>
            </a:r>
            <a:endParaRPr lang="en-AU" sz="731" b="1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AE3F3F69-F282-4CF6-BAEA-69857B7A508E}"/>
              </a:ext>
            </a:extLst>
          </p:cNvPr>
          <p:cNvSpPr txBox="1"/>
          <p:nvPr/>
        </p:nvSpPr>
        <p:spPr>
          <a:xfrm>
            <a:off x="3217980" y="2367470"/>
            <a:ext cx="555909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21</a:t>
            </a:r>
          </a:p>
        </p:txBody>
      </p:sp>
      <p:pic>
        <p:nvPicPr>
          <p:cNvPr id="201" name="Graphic 200" descr="Gears">
            <a:extLst>
              <a:ext uri="{FF2B5EF4-FFF2-40B4-BE49-F238E27FC236}">
                <a16:creationId xmlns:a16="http://schemas.microsoft.com/office/drawing/2014/main" id="{02B1C8F7-0081-459C-B4C3-555C8211F19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1987" y="2577741"/>
            <a:ext cx="204750" cy="204750"/>
          </a:xfrm>
          <a:prstGeom prst="rect">
            <a:avLst/>
          </a:prstGeom>
          <a:noFill/>
        </p:spPr>
      </p:pic>
      <p:pic>
        <p:nvPicPr>
          <p:cNvPr id="202" name="Graphic 201" descr="Sign language">
            <a:extLst>
              <a:ext uri="{FF2B5EF4-FFF2-40B4-BE49-F238E27FC236}">
                <a16:creationId xmlns:a16="http://schemas.microsoft.com/office/drawing/2014/main" id="{CD7701D8-745A-4643-977C-ED002CB8EEA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63516" y="2577741"/>
            <a:ext cx="204750" cy="204750"/>
          </a:xfrm>
          <a:prstGeom prst="rect">
            <a:avLst/>
          </a:prstGeom>
          <a:noFill/>
        </p:spPr>
      </p:pic>
      <p:sp>
        <p:nvSpPr>
          <p:cNvPr id="203" name="TextBox 202">
            <a:extLst>
              <a:ext uri="{FF2B5EF4-FFF2-40B4-BE49-F238E27FC236}">
                <a16:creationId xmlns:a16="http://schemas.microsoft.com/office/drawing/2014/main" id="{250D3D02-1DF4-40FE-8BD4-267816D18CBE}"/>
              </a:ext>
            </a:extLst>
          </p:cNvPr>
          <p:cNvSpPr txBox="1"/>
          <p:nvPr/>
        </p:nvSpPr>
        <p:spPr>
          <a:xfrm>
            <a:off x="3164977" y="2795214"/>
            <a:ext cx="205021" cy="112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731" b="1" dirty="0">
                <a:solidFill>
                  <a:srgbClr val="D70C3D"/>
                </a:solidFill>
                <a:latin typeface="Montserrat"/>
              </a:rPr>
              <a:t>33%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5606C905-89BE-45CD-8CF4-6A9790858AFB}"/>
              </a:ext>
            </a:extLst>
          </p:cNvPr>
          <p:cNvSpPr txBox="1"/>
          <p:nvPr/>
        </p:nvSpPr>
        <p:spPr>
          <a:xfrm>
            <a:off x="3643185" y="2795214"/>
            <a:ext cx="151355" cy="112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19233E"/>
                </a:solidFill>
                <a:latin typeface="Montserrat"/>
              </a:rPr>
              <a:t>0%</a:t>
            </a:r>
          </a:p>
        </p:txBody>
      </p:sp>
      <p:pic>
        <p:nvPicPr>
          <p:cNvPr id="205" name="Graphic 204" descr="Laptop">
            <a:extLst>
              <a:ext uri="{FF2B5EF4-FFF2-40B4-BE49-F238E27FC236}">
                <a16:creationId xmlns:a16="http://schemas.microsoft.com/office/drawing/2014/main" id="{FF79F5B6-192A-442A-9AA9-63C3A30B465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04322" y="2588121"/>
            <a:ext cx="204750" cy="204750"/>
          </a:xfrm>
          <a:prstGeom prst="rect">
            <a:avLst/>
          </a:prstGeom>
          <a:noFill/>
        </p:spPr>
      </p:pic>
      <p:sp>
        <p:nvSpPr>
          <p:cNvPr id="206" name="TextBox 205">
            <a:extLst>
              <a:ext uri="{FF2B5EF4-FFF2-40B4-BE49-F238E27FC236}">
                <a16:creationId xmlns:a16="http://schemas.microsoft.com/office/drawing/2014/main" id="{CF91D704-1692-42B8-A09E-25EFBCA889CE}"/>
              </a:ext>
            </a:extLst>
          </p:cNvPr>
          <p:cNvSpPr txBox="1"/>
          <p:nvPr/>
        </p:nvSpPr>
        <p:spPr>
          <a:xfrm>
            <a:off x="3380348" y="2795214"/>
            <a:ext cx="228724" cy="102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67%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4AB17294-41A6-4B1A-850F-7EACE0CAABEA}"/>
              </a:ext>
            </a:extLst>
          </p:cNvPr>
          <p:cNvSpPr txBox="1"/>
          <p:nvPr/>
        </p:nvSpPr>
        <p:spPr>
          <a:xfrm>
            <a:off x="4326422" y="1859560"/>
            <a:ext cx="1053000" cy="46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number of steps in </a:t>
            </a:r>
            <a:r>
              <a:rPr lang="en-US" sz="731" b="1" dirty="0">
                <a:solidFill>
                  <a:srgbClr val="000000"/>
                </a:solidFill>
                <a:latin typeface="Montserrat"/>
              </a:rPr>
              <a:t>p</a:t>
            </a:r>
            <a:r>
              <a:rPr lang="en-US" sz="731" b="1" dirty="0" err="1">
                <a:solidFill>
                  <a:srgbClr val="000000"/>
                </a:solidFill>
                <a:latin typeface="Montserrat"/>
              </a:rPr>
              <a:t>rincipal</a:t>
            </a:r>
            <a:r>
              <a:rPr lang="en-US" sz="731" b="1" dirty="0">
                <a:solidFill>
                  <a:srgbClr val="000000"/>
                </a:solidFill>
                <a:latin typeface="Montserrat"/>
              </a:rPr>
              <a:t>, school executive &amp; teacher recruitment process </a:t>
            </a:r>
            <a:r>
              <a:rPr lang="en-AU" sz="731" b="1" baseline="30000" dirty="0">
                <a:solidFill>
                  <a:srgbClr val="000000"/>
                </a:solidFill>
                <a:latin typeface="Montserrat"/>
              </a:rPr>
              <a:t>1</a:t>
            </a:r>
            <a:endParaRPr lang="en-US" sz="731" b="1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DD470AC7-236D-4255-A05C-A4A30B798D98}"/>
              </a:ext>
            </a:extLst>
          </p:cNvPr>
          <p:cNvSpPr txBox="1"/>
          <p:nvPr/>
        </p:nvSpPr>
        <p:spPr>
          <a:xfrm>
            <a:off x="4576753" y="2367470"/>
            <a:ext cx="555909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77</a:t>
            </a:r>
          </a:p>
        </p:txBody>
      </p:sp>
      <p:pic>
        <p:nvPicPr>
          <p:cNvPr id="217" name="Graphic 216" descr="Gears">
            <a:extLst>
              <a:ext uri="{FF2B5EF4-FFF2-40B4-BE49-F238E27FC236}">
                <a16:creationId xmlns:a16="http://schemas.microsoft.com/office/drawing/2014/main" id="{7EC7C262-DC2A-4725-834B-31A732349CE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49400" y="2577741"/>
            <a:ext cx="204750" cy="204750"/>
          </a:xfrm>
          <a:prstGeom prst="rect">
            <a:avLst/>
          </a:prstGeom>
          <a:noFill/>
        </p:spPr>
      </p:pic>
      <p:pic>
        <p:nvPicPr>
          <p:cNvPr id="218" name="Graphic 217" descr="Sign language">
            <a:extLst>
              <a:ext uri="{FF2B5EF4-FFF2-40B4-BE49-F238E27FC236}">
                <a16:creationId xmlns:a16="http://schemas.microsoft.com/office/drawing/2014/main" id="{1FA8511F-E95B-4E9A-B167-AD6CEE2C2E5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15199" y="2577741"/>
            <a:ext cx="204750" cy="204750"/>
          </a:xfrm>
          <a:prstGeom prst="rect">
            <a:avLst/>
          </a:prstGeom>
          <a:noFill/>
        </p:spPr>
      </p:pic>
      <p:sp>
        <p:nvSpPr>
          <p:cNvPr id="219" name="TextBox 218">
            <a:extLst>
              <a:ext uri="{FF2B5EF4-FFF2-40B4-BE49-F238E27FC236}">
                <a16:creationId xmlns:a16="http://schemas.microsoft.com/office/drawing/2014/main" id="{21EC4A87-162F-4760-98B1-4440982B87ED}"/>
              </a:ext>
            </a:extLst>
          </p:cNvPr>
          <p:cNvSpPr txBox="1"/>
          <p:nvPr/>
        </p:nvSpPr>
        <p:spPr>
          <a:xfrm>
            <a:off x="4514093" y="2795214"/>
            <a:ext cx="205021" cy="112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731" b="1" dirty="0">
                <a:solidFill>
                  <a:srgbClr val="D70C3D"/>
                </a:solidFill>
                <a:latin typeface="Montserrat"/>
              </a:rPr>
              <a:t>21%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284AB2F-35FD-4028-BF67-42D371968EBE}"/>
              </a:ext>
            </a:extLst>
          </p:cNvPr>
          <p:cNvSpPr txBox="1"/>
          <p:nvPr/>
        </p:nvSpPr>
        <p:spPr>
          <a:xfrm>
            <a:off x="4990769" y="2795214"/>
            <a:ext cx="151355" cy="112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19233E"/>
                </a:solidFill>
                <a:latin typeface="Montserrat"/>
              </a:rPr>
              <a:t>0%</a:t>
            </a:r>
          </a:p>
        </p:txBody>
      </p:sp>
      <p:pic>
        <p:nvPicPr>
          <p:cNvPr id="221" name="Graphic 220" descr="Laptop">
            <a:extLst>
              <a:ext uri="{FF2B5EF4-FFF2-40B4-BE49-F238E27FC236}">
                <a16:creationId xmlns:a16="http://schemas.microsoft.com/office/drawing/2014/main" id="{A4E739C5-71CC-4237-98CA-8D4601FB07C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44235" y="2577741"/>
            <a:ext cx="204750" cy="204750"/>
          </a:xfrm>
          <a:prstGeom prst="rect">
            <a:avLst/>
          </a:prstGeom>
          <a:noFill/>
        </p:spPr>
      </p:pic>
      <p:sp>
        <p:nvSpPr>
          <p:cNvPr id="222" name="TextBox 221">
            <a:extLst>
              <a:ext uri="{FF2B5EF4-FFF2-40B4-BE49-F238E27FC236}">
                <a16:creationId xmlns:a16="http://schemas.microsoft.com/office/drawing/2014/main" id="{C866CB36-0B41-460B-AC94-F2725F5BFFA9}"/>
              </a:ext>
            </a:extLst>
          </p:cNvPr>
          <p:cNvSpPr txBox="1"/>
          <p:nvPr/>
        </p:nvSpPr>
        <p:spPr>
          <a:xfrm>
            <a:off x="4758068" y="2797389"/>
            <a:ext cx="247657" cy="1098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79%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B22143C3-B7BA-4C16-ADAB-E3ADD0602B60}"/>
              </a:ext>
            </a:extLst>
          </p:cNvPr>
          <p:cNvSpPr txBox="1"/>
          <p:nvPr/>
        </p:nvSpPr>
        <p:spPr>
          <a:xfrm>
            <a:off x="6803708" y="1887026"/>
            <a:ext cx="1053000" cy="46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p</a:t>
            </a:r>
            <a:r>
              <a:rPr lang="en-AU" sz="731" b="1" dirty="0" err="1">
                <a:solidFill>
                  <a:srgbClr val="000000"/>
                </a:solidFill>
                <a:latin typeface="Montserrat"/>
              </a:rPr>
              <a:t>ositions</a:t>
            </a:r>
            <a:r>
              <a:rPr lang="en-AU" sz="731" b="1" dirty="0">
                <a:solidFill>
                  <a:srgbClr val="000000"/>
                </a:solidFill>
                <a:latin typeface="Montserrat"/>
              </a:rPr>
              <a:t> filled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in 2018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(permanent) </a:t>
            </a:r>
            <a:r>
              <a:rPr lang="en-AU" sz="731" b="1" baseline="30000" dirty="0">
                <a:solidFill>
                  <a:srgbClr val="000000"/>
                </a:solidFill>
                <a:latin typeface="Montserrat"/>
              </a:rPr>
              <a:t>2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66A68B6-7E68-45FF-80C1-DEC99B6B30E8}"/>
              </a:ext>
            </a:extLst>
          </p:cNvPr>
          <p:cNvSpPr txBox="1"/>
          <p:nvPr/>
        </p:nvSpPr>
        <p:spPr>
          <a:xfrm>
            <a:off x="7141588" y="2588869"/>
            <a:ext cx="555909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5,24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7F1289-79EF-4066-A751-18C20A854225}"/>
              </a:ext>
            </a:extLst>
          </p:cNvPr>
          <p:cNvSpPr txBox="1"/>
          <p:nvPr/>
        </p:nvSpPr>
        <p:spPr>
          <a:xfrm>
            <a:off x="6803709" y="2316270"/>
            <a:ext cx="1141825" cy="195537"/>
          </a:xfrm>
          <a:prstGeom prst="rect">
            <a:avLst/>
          </a:prstGeom>
          <a:noFill/>
          <a:ln w="3175">
            <a:noFill/>
          </a:ln>
        </p:spPr>
        <p:txBody>
          <a:bodyPr wrap="square" lIns="29250" tIns="29250" rIns="29250" bIns="29250" numCol="1" rtlCol="0" anchor="ctr">
            <a:noAutofit/>
          </a:bodyPr>
          <a:lstStyle/>
          <a:p>
            <a:pPr defTabSz="371453">
              <a:defRPr/>
            </a:pPr>
            <a:r>
              <a:rPr lang="en-AU" sz="569" dirty="0">
                <a:solidFill>
                  <a:srgbClr val="000000"/>
                </a:solidFill>
                <a:latin typeface="Montserrat"/>
              </a:rPr>
              <a:t>Teachers   3,334   GSEs     1,178</a:t>
            </a:r>
          </a:p>
          <a:p>
            <a:pPr defTabSz="371453">
              <a:defRPr/>
            </a:pPr>
            <a:r>
              <a:rPr lang="en-AU" sz="569" dirty="0">
                <a:solidFill>
                  <a:srgbClr val="000000"/>
                </a:solidFill>
                <a:latin typeface="Montserrat"/>
              </a:rPr>
              <a:t>SASS              713    PSSE        16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2E727886-791E-438C-A8F4-BB6122E198CE}"/>
              </a:ext>
            </a:extLst>
          </p:cNvPr>
          <p:cNvSpPr txBox="1"/>
          <p:nvPr/>
        </p:nvSpPr>
        <p:spPr>
          <a:xfrm>
            <a:off x="8172886" y="1920841"/>
            <a:ext cx="1053000" cy="46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a</a:t>
            </a:r>
            <a:r>
              <a:rPr lang="en-AU" sz="731" b="1" dirty="0" err="1">
                <a:solidFill>
                  <a:srgbClr val="000000"/>
                </a:solidFill>
                <a:latin typeface="Montserrat"/>
              </a:rPr>
              <a:t>verage</a:t>
            </a:r>
            <a:r>
              <a:rPr lang="en-AU" sz="731" b="1" dirty="0">
                <a:solidFill>
                  <a:srgbClr val="000000"/>
                </a:solidFill>
                <a:latin typeface="Montserrat"/>
              </a:rPr>
              <a:t> time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to fill a teacher </a:t>
            </a:r>
            <a:br>
              <a:rPr lang="en-AU" sz="731" b="1" dirty="0">
                <a:solidFill>
                  <a:srgbClr val="000000"/>
                </a:solidFill>
                <a:latin typeface="Montserrat"/>
              </a:rPr>
            </a:br>
            <a:r>
              <a:rPr lang="en-AU" sz="731" b="1" dirty="0">
                <a:solidFill>
                  <a:srgbClr val="000000"/>
                </a:solidFill>
                <a:latin typeface="Montserrat"/>
              </a:rPr>
              <a:t>position</a:t>
            </a:r>
            <a:r>
              <a:rPr lang="en-AU" sz="731" b="1" baseline="30000" dirty="0">
                <a:solidFill>
                  <a:srgbClr val="000000"/>
                </a:solidFill>
                <a:latin typeface="Montserrat"/>
              </a:rPr>
              <a:t> 2</a:t>
            </a:r>
            <a:endParaRPr lang="en-AU" sz="731" b="1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E2E73840-DB58-4F5F-8842-E11137627ECE}"/>
              </a:ext>
            </a:extLst>
          </p:cNvPr>
          <p:cNvSpPr txBox="1"/>
          <p:nvPr/>
        </p:nvSpPr>
        <p:spPr>
          <a:xfrm>
            <a:off x="8549992" y="2606194"/>
            <a:ext cx="838312" cy="2486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10 weeks</a:t>
            </a:r>
          </a:p>
        </p:txBody>
      </p:sp>
      <p:sp>
        <p:nvSpPr>
          <p:cNvPr id="229" name="Rectangle: Rounded Corners 228">
            <a:extLst>
              <a:ext uri="{FF2B5EF4-FFF2-40B4-BE49-F238E27FC236}">
                <a16:creationId xmlns:a16="http://schemas.microsoft.com/office/drawing/2014/main" id="{7FE09917-29FF-47F5-8F6F-66895B342DC0}"/>
              </a:ext>
            </a:extLst>
          </p:cNvPr>
          <p:cNvSpPr/>
          <p:nvPr/>
        </p:nvSpPr>
        <p:spPr>
          <a:xfrm>
            <a:off x="2447257" y="5569678"/>
            <a:ext cx="1171027" cy="637200"/>
          </a:xfrm>
          <a:prstGeom prst="round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385E9D"/>
              </a:solidFill>
              <a:latin typeface="Montserra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4792" y="5590539"/>
            <a:ext cx="1097690" cy="463518"/>
            <a:chOff x="10490006" y="336479"/>
            <a:chExt cx="1351003" cy="570484"/>
          </a:xfrm>
        </p:grpSpPr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20EEFD5F-0232-4325-9C7E-6CF35315EC48}"/>
                </a:ext>
              </a:extLst>
            </p:cNvPr>
            <p:cNvGrpSpPr/>
            <p:nvPr/>
          </p:nvGrpSpPr>
          <p:grpSpPr>
            <a:xfrm>
              <a:off x="10490006" y="479449"/>
              <a:ext cx="1351003" cy="427514"/>
              <a:chOff x="9345506" y="868961"/>
              <a:chExt cx="1263925" cy="427514"/>
            </a:xfrm>
          </p:grpSpPr>
          <p:pic>
            <p:nvPicPr>
              <p:cNvPr id="232" name="Graphic 231" descr="Gears">
                <a:extLst>
                  <a:ext uri="{FF2B5EF4-FFF2-40B4-BE49-F238E27FC236}">
                    <a16:creationId xmlns:a16="http://schemas.microsoft.com/office/drawing/2014/main" id="{C76D2D93-03F6-4096-AFF0-B3D3CF9E39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0285143" y="887982"/>
                <a:ext cx="180000" cy="180000"/>
              </a:xfrm>
              <a:prstGeom prst="rect">
                <a:avLst/>
              </a:prstGeom>
            </p:spPr>
          </p:pic>
          <p:pic>
            <p:nvPicPr>
              <p:cNvPr id="233" name="Graphic 232" descr="Sign language">
                <a:extLst>
                  <a:ext uri="{FF2B5EF4-FFF2-40B4-BE49-F238E27FC236}">
                    <a16:creationId xmlns:a16="http://schemas.microsoft.com/office/drawing/2014/main" id="{B714A326-6ACD-4F84-9531-6C714175D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14587" y="879864"/>
                <a:ext cx="180000" cy="180000"/>
              </a:xfrm>
              <a:prstGeom prst="rect">
                <a:avLst/>
              </a:prstGeom>
            </p:spPr>
          </p:pic>
          <p:sp>
            <p:nvSpPr>
              <p:cNvPr id="234" name="TextBox 233">
                <a:extLst>
                  <a:ext uri="{FF2B5EF4-FFF2-40B4-BE49-F238E27FC236}">
                    <a16:creationId xmlns:a16="http://schemas.microsoft.com/office/drawing/2014/main" id="{5481D8FB-E8DA-48EF-A1CF-C6E893EA0B6E}"/>
                  </a:ext>
                </a:extLst>
              </p:cNvPr>
              <p:cNvSpPr txBox="1"/>
              <p:nvPr/>
            </p:nvSpPr>
            <p:spPr>
              <a:xfrm>
                <a:off x="9345506" y="1063531"/>
                <a:ext cx="392265" cy="18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defTabSz="371453">
                  <a:defRPr/>
                </a:pPr>
                <a:r>
                  <a:rPr lang="en-AU" sz="569" dirty="0">
                    <a:solidFill>
                      <a:srgbClr val="D70C3D"/>
                    </a:solidFill>
                    <a:latin typeface="Montserrat"/>
                  </a:rPr>
                  <a:t>f</a:t>
                </a:r>
                <a:r>
                  <a:rPr lang="en-AU" sz="569" dirty="0" err="1">
                    <a:solidFill>
                      <a:srgbClr val="D70C3D"/>
                    </a:solidFill>
                    <a:latin typeface="Montserrat"/>
                  </a:rPr>
                  <a:t>ully</a:t>
                </a:r>
                <a:r>
                  <a:rPr lang="en-AU" sz="569" dirty="0">
                    <a:solidFill>
                      <a:srgbClr val="D70C3D"/>
                    </a:solidFill>
                    <a:latin typeface="Montserrat"/>
                  </a:rPr>
                  <a:t> manual</a:t>
                </a:r>
                <a:endParaRPr lang="en-AU" sz="813" dirty="0">
                  <a:solidFill>
                    <a:srgbClr val="D70C3D"/>
                  </a:solidFill>
                  <a:latin typeface="Montserrat"/>
                </a:endParaRPr>
              </a:p>
            </p:txBody>
          </p:sp>
          <p:sp>
            <p:nvSpPr>
              <p:cNvPr id="235" name="TextBox 234">
                <a:extLst>
                  <a:ext uri="{FF2B5EF4-FFF2-40B4-BE49-F238E27FC236}">
                    <a16:creationId xmlns:a16="http://schemas.microsoft.com/office/drawing/2014/main" id="{9BCFE387-4C2B-427E-A163-CF6259AF99A2}"/>
                  </a:ext>
                </a:extLst>
              </p:cNvPr>
              <p:cNvSpPr txBox="1"/>
              <p:nvPr/>
            </p:nvSpPr>
            <p:spPr>
              <a:xfrm>
                <a:off x="10094912" y="1065893"/>
                <a:ext cx="514519" cy="180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371453">
                  <a:defRPr/>
                </a:pPr>
                <a:r>
                  <a:rPr lang="en-AU" sz="569" dirty="0">
                    <a:solidFill>
                      <a:srgbClr val="19233E"/>
                    </a:solidFill>
                    <a:latin typeface="Montserrat"/>
                  </a:rPr>
                  <a:t>a</a:t>
                </a:r>
                <a:r>
                  <a:rPr lang="en-AU" sz="569" dirty="0" err="1">
                    <a:solidFill>
                      <a:srgbClr val="19233E"/>
                    </a:solidFill>
                    <a:latin typeface="Montserrat"/>
                  </a:rPr>
                  <a:t>utomated</a:t>
                </a:r>
                <a:endParaRPr lang="en-AU" sz="650" dirty="0">
                  <a:solidFill>
                    <a:srgbClr val="19233E"/>
                  </a:solidFill>
                  <a:latin typeface="Montserrat"/>
                </a:endParaRPr>
              </a:p>
            </p:txBody>
          </p:sp>
          <p:pic>
            <p:nvPicPr>
              <p:cNvPr id="236" name="Graphic 235" descr="Laptop">
                <a:extLst>
                  <a:ext uri="{FF2B5EF4-FFF2-40B4-BE49-F238E27FC236}">
                    <a16:creationId xmlns:a16="http://schemas.microsoft.com/office/drawing/2014/main" id="{CD1F4AC6-80D5-4758-BF86-02CA78F54E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05567" y="868961"/>
                <a:ext cx="180000" cy="180000"/>
              </a:xfrm>
              <a:prstGeom prst="rect">
                <a:avLst/>
              </a:prstGeom>
            </p:spPr>
          </p:pic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332B6FCE-FBA2-4332-8A80-77EFF34094D8}"/>
                  </a:ext>
                </a:extLst>
              </p:cNvPr>
              <p:cNvSpPr txBox="1"/>
              <p:nvPr/>
            </p:nvSpPr>
            <p:spPr>
              <a:xfrm>
                <a:off x="9584532" y="1048961"/>
                <a:ext cx="637519" cy="24751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371453">
                  <a:defRPr/>
                </a:pPr>
                <a:r>
                  <a:rPr lang="en-AU" sz="569" dirty="0">
                    <a:solidFill>
                      <a:srgbClr val="000000"/>
                    </a:solidFill>
                    <a:latin typeface="Montserrat"/>
                  </a:rPr>
                  <a:t>p</a:t>
                </a:r>
                <a:r>
                  <a:rPr lang="en-AU" sz="569" dirty="0" err="1">
                    <a:solidFill>
                      <a:srgbClr val="000000"/>
                    </a:solidFill>
                    <a:latin typeface="Montserrat"/>
                  </a:rPr>
                  <a:t>artially</a:t>
                </a:r>
                <a:r>
                  <a:rPr lang="en-AU" sz="569" dirty="0">
                    <a:solidFill>
                      <a:srgbClr val="000000"/>
                    </a:solidFill>
                    <a:latin typeface="Montserrat"/>
                  </a:rPr>
                  <a:t> m</a:t>
                </a:r>
                <a:r>
                  <a:rPr lang="en-AU" sz="569" dirty="0" err="1">
                    <a:solidFill>
                      <a:srgbClr val="000000"/>
                    </a:solidFill>
                    <a:latin typeface="Montserrat"/>
                  </a:rPr>
                  <a:t>anual</a:t>
                </a:r>
                <a:endParaRPr lang="en-AU" sz="569" dirty="0">
                  <a:solidFill>
                    <a:srgbClr val="000000"/>
                  </a:solidFill>
                  <a:latin typeface="Montserrat"/>
                </a:endParaRPr>
              </a:p>
            </p:txBody>
          </p:sp>
        </p:grp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7E0B930A-122B-4C77-8F68-3677084AAB6D}"/>
                </a:ext>
              </a:extLst>
            </p:cNvPr>
            <p:cNvSpPr txBox="1"/>
            <p:nvPr/>
          </p:nvSpPr>
          <p:spPr>
            <a:xfrm>
              <a:off x="10691924" y="336479"/>
              <a:ext cx="735017" cy="1888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371453">
                <a:defRPr/>
              </a:pPr>
              <a:r>
                <a:rPr lang="en-AU" sz="650" b="1" spc="-24" dirty="0">
                  <a:solidFill>
                    <a:srgbClr val="000000"/>
                  </a:solidFill>
                  <a:latin typeface="Montserrat"/>
                </a:rPr>
                <a:t>Legend</a:t>
              </a:r>
              <a:endParaRPr lang="en-AU" sz="650" spc="-24" dirty="0">
                <a:solidFill>
                  <a:srgbClr val="000000"/>
                </a:solidFill>
                <a:latin typeface="Montserrat"/>
              </a:endParaRPr>
            </a:p>
          </p:txBody>
        </p:sp>
      </p:grpSp>
      <p:sp>
        <p:nvSpPr>
          <p:cNvPr id="239" name="Rectangle: Rounded Corners 238">
            <a:extLst>
              <a:ext uri="{FF2B5EF4-FFF2-40B4-BE49-F238E27FC236}">
                <a16:creationId xmlns:a16="http://schemas.microsoft.com/office/drawing/2014/main" id="{9BE7133B-02F4-41D5-95C1-5113AEEB1EA5}"/>
              </a:ext>
            </a:extLst>
          </p:cNvPr>
          <p:cNvSpPr/>
          <p:nvPr/>
        </p:nvSpPr>
        <p:spPr>
          <a:xfrm>
            <a:off x="1960558" y="4814620"/>
            <a:ext cx="6817052" cy="70044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"/>
            </a:endParaRPr>
          </a:p>
        </p:txBody>
      </p:sp>
      <p:pic>
        <p:nvPicPr>
          <p:cNvPr id="267" name="Graphic 266" descr="Gears">
            <a:extLst>
              <a:ext uri="{FF2B5EF4-FFF2-40B4-BE49-F238E27FC236}">
                <a16:creationId xmlns:a16="http://schemas.microsoft.com/office/drawing/2014/main" id="{FE7AF922-3622-41F2-A4ED-0A1D3AC4867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0460" y="5138061"/>
            <a:ext cx="190817" cy="204750"/>
          </a:xfrm>
          <a:prstGeom prst="rect">
            <a:avLst/>
          </a:prstGeom>
          <a:noFill/>
        </p:spPr>
      </p:pic>
      <p:pic>
        <p:nvPicPr>
          <p:cNvPr id="268" name="Graphic 267" descr="Sign language">
            <a:extLst>
              <a:ext uri="{FF2B5EF4-FFF2-40B4-BE49-F238E27FC236}">
                <a16:creationId xmlns:a16="http://schemas.microsoft.com/office/drawing/2014/main" id="{9E97CCD3-1607-48DA-AD37-12B3C4CD723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03013" y="5138061"/>
            <a:ext cx="190817" cy="204750"/>
          </a:xfrm>
          <a:prstGeom prst="rect">
            <a:avLst/>
          </a:prstGeom>
          <a:noFill/>
        </p:spPr>
      </p:pic>
      <p:sp>
        <p:nvSpPr>
          <p:cNvPr id="269" name="TextBox 268">
            <a:extLst>
              <a:ext uri="{FF2B5EF4-FFF2-40B4-BE49-F238E27FC236}">
                <a16:creationId xmlns:a16="http://schemas.microsoft.com/office/drawing/2014/main" id="{883670D2-B165-41B0-82C9-D71E2DDF0787}"/>
              </a:ext>
            </a:extLst>
          </p:cNvPr>
          <p:cNvSpPr txBox="1"/>
          <p:nvPr/>
        </p:nvSpPr>
        <p:spPr>
          <a:xfrm>
            <a:off x="1817534" y="5351921"/>
            <a:ext cx="280902" cy="164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731" b="1" dirty="0">
                <a:solidFill>
                  <a:srgbClr val="D70C3D"/>
                </a:solidFill>
                <a:latin typeface="Montserrat"/>
              </a:rPr>
              <a:t>5%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8904623B-8FA3-4F71-B1E4-96E233EF70FA}"/>
              </a:ext>
            </a:extLst>
          </p:cNvPr>
          <p:cNvSpPr txBox="1"/>
          <p:nvPr/>
        </p:nvSpPr>
        <p:spPr>
          <a:xfrm>
            <a:off x="2241714" y="5351921"/>
            <a:ext cx="280575" cy="164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19233E"/>
                </a:solidFill>
                <a:latin typeface="Montserrat"/>
              </a:rPr>
              <a:t>33% </a:t>
            </a:r>
            <a:r>
              <a:rPr lang="en-AU" sz="731" b="1" baseline="30000" dirty="0">
                <a:solidFill>
                  <a:srgbClr val="19233E"/>
                </a:solidFill>
                <a:latin typeface="Montserrat"/>
              </a:rPr>
              <a:t>3</a:t>
            </a:r>
          </a:p>
        </p:txBody>
      </p:sp>
      <p:pic>
        <p:nvPicPr>
          <p:cNvPr id="271" name="Graphic 270" descr="Laptop">
            <a:extLst>
              <a:ext uri="{FF2B5EF4-FFF2-40B4-BE49-F238E27FC236}">
                <a16:creationId xmlns:a16="http://schemas.microsoft.com/office/drawing/2014/main" id="{9F1135E5-FAD5-427C-9807-18B1917041A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31216" y="5138061"/>
            <a:ext cx="190817" cy="204750"/>
          </a:xfrm>
          <a:prstGeom prst="rect">
            <a:avLst/>
          </a:prstGeom>
          <a:noFill/>
        </p:spPr>
      </p:pic>
      <p:sp>
        <p:nvSpPr>
          <p:cNvPr id="272" name="TextBox 271">
            <a:extLst>
              <a:ext uri="{FF2B5EF4-FFF2-40B4-BE49-F238E27FC236}">
                <a16:creationId xmlns:a16="http://schemas.microsoft.com/office/drawing/2014/main" id="{6F9B59D2-E445-47E3-83BE-AA5A6BED29EF}"/>
              </a:ext>
            </a:extLst>
          </p:cNvPr>
          <p:cNvSpPr txBox="1"/>
          <p:nvPr/>
        </p:nvSpPr>
        <p:spPr>
          <a:xfrm>
            <a:off x="2003927" y="5351921"/>
            <a:ext cx="207373" cy="164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62%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A403A08A-44DB-4A05-8A42-A9386DD3657B}"/>
              </a:ext>
            </a:extLst>
          </p:cNvPr>
          <p:cNvSpPr txBox="1"/>
          <p:nvPr/>
        </p:nvSpPr>
        <p:spPr>
          <a:xfrm>
            <a:off x="5731092" y="5167902"/>
            <a:ext cx="555909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1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D615F8A1-C006-4DEB-80B4-B17050AF3142}"/>
              </a:ext>
            </a:extLst>
          </p:cNvPr>
          <p:cNvSpPr txBox="1"/>
          <p:nvPr/>
        </p:nvSpPr>
        <p:spPr>
          <a:xfrm>
            <a:off x="3269559" y="5472173"/>
            <a:ext cx="555909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8</a:t>
            </a:r>
          </a:p>
        </p:txBody>
      </p:sp>
      <p:pic>
        <p:nvPicPr>
          <p:cNvPr id="261" name="Graphic 260" descr="Gears">
            <a:extLst>
              <a:ext uri="{FF2B5EF4-FFF2-40B4-BE49-F238E27FC236}">
                <a16:creationId xmlns:a16="http://schemas.microsoft.com/office/drawing/2014/main" id="{8C91E3DE-F4C7-4858-BBAB-9F9CF0EF7DD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53150" y="5138061"/>
            <a:ext cx="204750" cy="204750"/>
          </a:xfrm>
          <a:prstGeom prst="rect">
            <a:avLst/>
          </a:prstGeom>
          <a:noFill/>
        </p:spPr>
      </p:pic>
      <p:pic>
        <p:nvPicPr>
          <p:cNvPr id="262" name="Graphic 261" descr="Sign language">
            <a:extLst>
              <a:ext uri="{FF2B5EF4-FFF2-40B4-BE49-F238E27FC236}">
                <a16:creationId xmlns:a16="http://schemas.microsoft.com/office/drawing/2014/main" id="{51077105-3713-46DD-ADB1-688421812AF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4679" y="5138061"/>
            <a:ext cx="204750" cy="204750"/>
          </a:xfrm>
          <a:prstGeom prst="rect">
            <a:avLst/>
          </a:prstGeom>
          <a:noFill/>
        </p:spPr>
      </p:pic>
      <p:sp>
        <p:nvSpPr>
          <p:cNvPr id="263" name="TextBox 262">
            <a:extLst>
              <a:ext uri="{FF2B5EF4-FFF2-40B4-BE49-F238E27FC236}">
                <a16:creationId xmlns:a16="http://schemas.microsoft.com/office/drawing/2014/main" id="{C2ED5DC8-6BF9-4912-B96B-56B3F5188737}"/>
              </a:ext>
            </a:extLst>
          </p:cNvPr>
          <p:cNvSpPr txBox="1"/>
          <p:nvPr/>
        </p:nvSpPr>
        <p:spPr>
          <a:xfrm>
            <a:off x="3223531" y="5351921"/>
            <a:ext cx="205021" cy="1462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731" b="1" dirty="0">
                <a:solidFill>
                  <a:srgbClr val="D70C3D"/>
                </a:solidFill>
                <a:latin typeface="Montserrat"/>
              </a:rPr>
              <a:t>8%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16353ACD-D304-42EE-A78D-DA508641E96D}"/>
              </a:ext>
            </a:extLst>
          </p:cNvPr>
          <p:cNvSpPr txBox="1"/>
          <p:nvPr/>
        </p:nvSpPr>
        <p:spPr>
          <a:xfrm>
            <a:off x="3641935" y="5351922"/>
            <a:ext cx="258911" cy="1260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19233E"/>
                </a:solidFill>
                <a:latin typeface="Montserrat"/>
              </a:rPr>
              <a:t>33%</a:t>
            </a:r>
          </a:p>
        </p:txBody>
      </p:sp>
      <p:pic>
        <p:nvPicPr>
          <p:cNvPr id="265" name="Graphic 264" descr="Laptop">
            <a:extLst>
              <a:ext uri="{FF2B5EF4-FFF2-40B4-BE49-F238E27FC236}">
                <a16:creationId xmlns:a16="http://schemas.microsoft.com/office/drawing/2014/main" id="{064E1D1E-E2D7-48A1-94CD-347A061C851F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3715" y="5138061"/>
            <a:ext cx="204750" cy="204750"/>
          </a:xfrm>
          <a:prstGeom prst="rect">
            <a:avLst/>
          </a:prstGeom>
          <a:noFill/>
        </p:spPr>
      </p:pic>
      <p:sp>
        <p:nvSpPr>
          <p:cNvPr id="266" name="TextBox 265">
            <a:extLst>
              <a:ext uri="{FF2B5EF4-FFF2-40B4-BE49-F238E27FC236}">
                <a16:creationId xmlns:a16="http://schemas.microsoft.com/office/drawing/2014/main" id="{C244F5C9-847D-4305-B72A-5CA1E5D976E0}"/>
              </a:ext>
            </a:extLst>
          </p:cNvPr>
          <p:cNvSpPr txBox="1"/>
          <p:nvPr/>
        </p:nvSpPr>
        <p:spPr>
          <a:xfrm>
            <a:off x="3435656" y="5351921"/>
            <a:ext cx="220478" cy="1462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59%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4856C5D1-3C46-483B-A826-5E812BA3FABA}"/>
              </a:ext>
            </a:extLst>
          </p:cNvPr>
          <p:cNvSpPr txBox="1"/>
          <p:nvPr/>
        </p:nvSpPr>
        <p:spPr>
          <a:xfrm>
            <a:off x="4600148" y="5507674"/>
            <a:ext cx="555909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30</a:t>
            </a:r>
          </a:p>
        </p:txBody>
      </p:sp>
      <p:pic>
        <p:nvPicPr>
          <p:cNvPr id="255" name="Graphic 254" descr="Gears">
            <a:extLst>
              <a:ext uri="{FF2B5EF4-FFF2-40B4-BE49-F238E27FC236}">
                <a16:creationId xmlns:a16="http://schemas.microsoft.com/office/drawing/2014/main" id="{23918D18-1BF7-42E9-9EBC-FE0E2304067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72558" y="5138061"/>
            <a:ext cx="204750" cy="204750"/>
          </a:xfrm>
          <a:prstGeom prst="rect">
            <a:avLst/>
          </a:prstGeom>
          <a:noFill/>
        </p:spPr>
      </p:pic>
      <p:pic>
        <p:nvPicPr>
          <p:cNvPr id="256" name="Graphic 255" descr="Sign language">
            <a:extLst>
              <a:ext uri="{FF2B5EF4-FFF2-40B4-BE49-F238E27FC236}">
                <a16:creationId xmlns:a16="http://schemas.microsoft.com/office/drawing/2014/main" id="{B0F22B58-A49F-4354-8855-FA41D290101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24086" y="5138061"/>
            <a:ext cx="204750" cy="204750"/>
          </a:xfrm>
          <a:prstGeom prst="rect">
            <a:avLst/>
          </a:prstGeom>
          <a:noFill/>
        </p:spPr>
      </p:pic>
      <p:sp>
        <p:nvSpPr>
          <p:cNvPr id="257" name="TextBox 256">
            <a:extLst>
              <a:ext uri="{FF2B5EF4-FFF2-40B4-BE49-F238E27FC236}">
                <a16:creationId xmlns:a16="http://schemas.microsoft.com/office/drawing/2014/main" id="{87D22C71-3198-462A-AAE8-6EC1231BE453}"/>
              </a:ext>
            </a:extLst>
          </p:cNvPr>
          <p:cNvSpPr txBox="1"/>
          <p:nvPr/>
        </p:nvSpPr>
        <p:spPr>
          <a:xfrm>
            <a:off x="4523846" y="5351921"/>
            <a:ext cx="205021" cy="112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731" b="1" dirty="0">
                <a:solidFill>
                  <a:srgbClr val="D70C3D"/>
                </a:solidFill>
                <a:latin typeface="Montserrat"/>
              </a:rPr>
              <a:t>10%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39B45E7C-EACD-415B-B249-7BBCB0A8F86A}"/>
              </a:ext>
            </a:extLst>
          </p:cNvPr>
          <p:cNvSpPr txBox="1"/>
          <p:nvPr/>
        </p:nvSpPr>
        <p:spPr>
          <a:xfrm>
            <a:off x="4924352" y="5351921"/>
            <a:ext cx="273989" cy="7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19233E"/>
                </a:solidFill>
                <a:latin typeface="Montserrat"/>
              </a:rPr>
              <a:t>40%</a:t>
            </a:r>
          </a:p>
        </p:txBody>
      </p:sp>
      <p:pic>
        <p:nvPicPr>
          <p:cNvPr id="259" name="Graphic 258" descr="Laptop">
            <a:extLst>
              <a:ext uri="{FF2B5EF4-FFF2-40B4-BE49-F238E27FC236}">
                <a16:creationId xmlns:a16="http://schemas.microsoft.com/office/drawing/2014/main" id="{E92C1EA7-7D42-44DA-869E-6D6BFC96F51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53123" y="5138061"/>
            <a:ext cx="204750" cy="204750"/>
          </a:xfrm>
          <a:prstGeom prst="rect">
            <a:avLst/>
          </a:prstGeom>
          <a:noFill/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389E6062-C681-4FB9-ABB6-4C23821E46CA}"/>
              </a:ext>
            </a:extLst>
          </p:cNvPr>
          <p:cNvSpPr txBox="1"/>
          <p:nvPr/>
        </p:nvSpPr>
        <p:spPr>
          <a:xfrm>
            <a:off x="4753876" y="5351921"/>
            <a:ext cx="203174" cy="858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371453">
              <a:defRPr/>
            </a:pPr>
            <a:r>
              <a:rPr lang="en-AU" sz="731" b="1" dirty="0">
                <a:solidFill>
                  <a:srgbClr val="000000"/>
                </a:solidFill>
                <a:latin typeface="Montserrat"/>
              </a:rPr>
              <a:t>50%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3114FB6-4E20-4213-8FDA-CB52EEB3DA64}"/>
              </a:ext>
            </a:extLst>
          </p:cNvPr>
          <p:cNvSpPr txBox="1"/>
          <p:nvPr/>
        </p:nvSpPr>
        <p:spPr>
          <a:xfrm>
            <a:off x="7197318" y="5167902"/>
            <a:ext cx="731835" cy="219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975" b="1" dirty="0">
                <a:solidFill>
                  <a:srgbClr val="000000"/>
                </a:solidFill>
                <a:latin typeface="Montserrat"/>
              </a:rPr>
              <a:t>25% increase in capacity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CC80D7D9-7B4D-4C6A-9787-21891C0D323B}"/>
              </a:ext>
            </a:extLst>
          </p:cNvPr>
          <p:cNvSpPr txBox="1"/>
          <p:nvPr/>
        </p:nvSpPr>
        <p:spPr>
          <a:xfrm>
            <a:off x="8549992" y="5167903"/>
            <a:ext cx="740861" cy="1749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371453">
              <a:defRPr/>
            </a:pPr>
            <a:r>
              <a:rPr lang="en-AU" sz="1138" b="1" dirty="0">
                <a:solidFill>
                  <a:srgbClr val="000000"/>
                </a:solidFill>
                <a:latin typeface="Montserrat"/>
              </a:rPr>
              <a:t>6 weeks</a:t>
            </a: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291DD707-8A19-4F2C-A5E3-781761C2C96A}"/>
              </a:ext>
            </a:extLst>
          </p:cNvPr>
          <p:cNvSpPr/>
          <p:nvPr/>
        </p:nvSpPr>
        <p:spPr>
          <a:xfrm>
            <a:off x="1173178" y="2627263"/>
            <a:ext cx="549701" cy="2748556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 Medium"/>
            </a:endParaRPr>
          </a:p>
        </p:txBody>
      </p:sp>
      <p:sp>
        <p:nvSpPr>
          <p:cNvPr id="273" name="Arrow: Down 272">
            <a:extLst>
              <a:ext uri="{FF2B5EF4-FFF2-40B4-BE49-F238E27FC236}">
                <a16:creationId xmlns:a16="http://schemas.microsoft.com/office/drawing/2014/main" id="{9E4DEB3F-D45E-46EB-8832-D5F23A4E4520}"/>
              </a:ext>
            </a:extLst>
          </p:cNvPr>
          <p:cNvSpPr/>
          <p:nvPr/>
        </p:nvSpPr>
        <p:spPr>
          <a:xfrm>
            <a:off x="2527855" y="2609194"/>
            <a:ext cx="549701" cy="2748556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 Medium"/>
            </a:endParaRPr>
          </a:p>
        </p:txBody>
      </p:sp>
      <p:sp>
        <p:nvSpPr>
          <p:cNvPr id="274" name="Arrow: Down 273">
            <a:extLst>
              <a:ext uri="{FF2B5EF4-FFF2-40B4-BE49-F238E27FC236}">
                <a16:creationId xmlns:a16="http://schemas.microsoft.com/office/drawing/2014/main" id="{7A08E35A-6F8A-4AB9-96D4-0FA7A4C5B292}"/>
              </a:ext>
            </a:extLst>
          </p:cNvPr>
          <p:cNvSpPr/>
          <p:nvPr/>
        </p:nvSpPr>
        <p:spPr>
          <a:xfrm>
            <a:off x="3882532" y="2609194"/>
            <a:ext cx="549701" cy="2748556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 Medium"/>
            </a:endParaRPr>
          </a:p>
        </p:txBody>
      </p:sp>
      <p:sp>
        <p:nvSpPr>
          <p:cNvPr id="275" name="Arrow: Down 274">
            <a:extLst>
              <a:ext uri="{FF2B5EF4-FFF2-40B4-BE49-F238E27FC236}">
                <a16:creationId xmlns:a16="http://schemas.microsoft.com/office/drawing/2014/main" id="{1D35EA92-9651-42D4-A461-3F3C809263C6}"/>
              </a:ext>
            </a:extLst>
          </p:cNvPr>
          <p:cNvSpPr/>
          <p:nvPr/>
        </p:nvSpPr>
        <p:spPr>
          <a:xfrm>
            <a:off x="5237210" y="2632059"/>
            <a:ext cx="549701" cy="2748556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 Medium"/>
            </a:endParaRPr>
          </a:p>
        </p:txBody>
      </p:sp>
      <p:sp>
        <p:nvSpPr>
          <p:cNvPr id="276" name="Arrow: Down 275">
            <a:extLst>
              <a:ext uri="{FF2B5EF4-FFF2-40B4-BE49-F238E27FC236}">
                <a16:creationId xmlns:a16="http://schemas.microsoft.com/office/drawing/2014/main" id="{A0356DAC-41A8-4801-9E96-07C00C8C67BD}"/>
              </a:ext>
            </a:extLst>
          </p:cNvPr>
          <p:cNvSpPr/>
          <p:nvPr/>
        </p:nvSpPr>
        <p:spPr>
          <a:xfrm>
            <a:off x="6591887" y="2611098"/>
            <a:ext cx="549701" cy="2748556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 Medium"/>
            </a:endParaRPr>
          </a:p>
        </p:txBody>
      </p:sp>
      <p:sp>
        <p:nvSpPr>
          <p:cNvPr id="277" name="Arrow: Down 276">
            <a:extLst>
              <a:ext uri="{FF2B5EF4-FFF2-40B4-BE49-F238E27FC236}">
                <a16:creationId xmlns:a16="http://schemas.microsoft.com/office/drawing/2014/main" id="{809EBF9F-1267-4D01-8746-2E7D1FCE9D97}"/>
              </a:ext>
            </a:extLst>
          </p:cNvPr>
          <p:cNvSpPr/>
          <p:nvPr/>
        </p:nvSpPr>
        <p:spPr>
          <a:xfrm>
            <a:off x="7946566" y="2621984"/>
            <a:ext cx="549701" cy="2748556"/>
          </a:xfrm>
          <a:prstGeom prst="curvedRightArrow">
            <a:avLst/>
          </a:prstGeom>
          <a:solidFill>
            <a:srgbClr val="4FD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 Medium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3FE64B-4B58-49D1-882E-7E7D679B3A3D}"/>
              </a:ext>
            </a:extLst>
          </p:cNvPr>
          <p:cNvSpPr txBox="1"/>
          <p:nvPr/>
        </p:nvSpPr>
        <p:spPr>
          <a:xfrm>
            <a:off x="154658" y="2289690"/>
            <a:ext cx="997780" cy="5543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975" dirty="0">
                <a:solidFill>
                  <a:srgbClr val="FFFFFF"/>
                </a:solidFill>
                <a:latin typeface="Montserrat Medium"/>
              </a:rPr>
              <a:t>NOW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DDDC722-4781-421E-A29E-E65979080E17}"/>
              </a:ext>
            </a:extLst>
          </p:cNvPr>
          <p:cNvSpPr txBox="1"/>
          <p:nvPr/>
        </p:nvSpPr>
        <p:spPr>
          <a:xfrm>
            <a:off x="142501" y="4583678"/>
            <a:ext cx="997780" cy="5543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371453">
              <a:defRPr/>
            </a:pPr>
            <a:r>
              <a:rPr lang="en-AU" sz="975" dirty="0">
                <a:solidFill>
                  <a:srgbClr val="FFFFFF"/>
                </a:solidFill>
                <a:latin typeface="Montserrat Medium"/>
              </a:rPr>
              <a:t>WHERE WE WANT TO BE *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897C57F-0582-484A-9292-AAD7F7CB6349}"/>
              </a:ext>
            </a:extLst>
          </p:cNvPr>
          <p:cNvSpPr/>
          <p:nvPr/>
        </p:nvSpPr>
        <p:spPr>
          <a:xfrm>
            <a:off x="1368625" y="2965139"/>
            <a:ext cx="1101243" cy="618066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0" rIns="2925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h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igh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level of manual activity = increased recruitment time and increased errors</a:t>
            </a:r>
          </a:p>
        </p:txBody>
      </p:sp>
      <p:sp>
        <p:nvSpPr>
          <p:cNvPr id="405" name="Rectangle: Rounded Corners 404">
            <a:extLst>
              <a:ext uri="{FF2B5EF4-FFF2-40B4-BE49-F238E27FC236}">
                <a16:creationId xmlns:a16="http://schemas.microsoft.com/office/drawing/2014/main" id="{62FD7802-E53D-4241-93C5-5511A4021A74}"/>
              </a:ext>
            </a:extLst>
          </p:cNvPr>
          <p:cNvSpPr/>
          <p:nvPr/>
        </p:nvSpPr>
        <p:spPr>
          <a:xfrm>
            <a:off x="2709076" y="2965139"/>
            <a:ext cx="1101243" cy="618066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0" rIns="2925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c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omplex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processes with a high reliance on manual steps</a:t>
            </a:r>
          </a:p>
        </p:txBody>
      </p:sp>
      <p:sp>
        <p:nvSpPr>
          <p:cNvPr id="406" name="Rectangle: Rounded Corners 405">
            <a:extLst>
              <a:ext uri="{FF2B5EF4-FFF2-40B4-BE49-F238E27FC236}">
                <a16:creationId xmlns:a16="http://schemas.microsoft.com/office/drawing/2014/main" id="{8C04FC97-62A1-4BE5-A94F-D662C3DAA821}"/>
              </a:ext>
            </a:extLst>
          </p:cNvPr>
          <p:cNvSpPr/>
          <p:nvPr/>
        </p:nvSpPr>
        <p:spPr>
          <a:xfrm>
            <a:off x="4049525" y="2965139"/>
            <a:ext cx="1239784" cy="618066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0" rIns="2925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d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isparate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and duplicated processes, e.g. 3 separate recruitment processes</a:t>
            </a:r>
          </a:p>
        </p:txBody>
      </p:sp>
      <p:sp>
        <p:nvSpPr>
          <p:cNvPr id="407" name="Rectangle: Rounded Corners 406">
            <a:extLst>
              <a:ext uri="{FF2B5EF4-FFF2-40B4-BE49-F238E27FC236}">
                <a16:creationId xmlns:a16="http://schemas.microsoft.com/office/drawing/2014/main" id="{87E91953-E669-440D-AB8F-5A4CA096E6CD}"/>
              </a:ext>
            </a:extLst>
          </p:cNvPr>
          <p:cNvSpPr/>
          <p:nvPr/>
        </p:nvSpPr>
        <p:spPr>
          <a:xfrm>
            <a:off x="5417568" y="2965139"/>
            <a:ext cx="1234996" cy="618066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0" rIns="2925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s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wivel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-chair processing requires data entry across multiple systems via  disparate user interfaces</a:t>
            </a:r>
          </a:p>
        </p:txBody>
      </p:sp>
      <p:sp>
        <p:nvSpPr>
          <p:cNvPr id="408" name="Rectangle: Rounded Corners 407">
            <a:extLst>
              <a:ext uri="{FF2B5EF4-FFF2-40B4-BE49-F238E27FC236}">
                <a16:creationId xmlns:a16="http://schemas.microsoft.com/office/drawing/2014/main" id="{2870A235-38A3-452F-A937-4AE5C01CB57B}"/>
              </a:ext>
            </a:extLst>
          </p:cNvPr>
          <p:cNvSpPr/>
          <p:nvPr/>
        </p:nvSpPr>
        <p:spPr>
          <a:xfrm>
            <a:off x="6730427" y="2965139"/>
            <a:ext cx="1216137" cy="618066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0" rIns="2925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h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igh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demand for recruitment services </a:t>
            </a:r>
          </a:p>
          <a:p>
            <a:pPr algn="ctr" defTabSz="371453">
              <a:defRPr/>
            </a:pPr>
            <a:endParaRPr lang="en-AU" sz="731" dirty="0">
              <a:solidFill>
                <a:srgbClr val="19233E">
                  <a:lumMod val="90000"/>
                  <a:lumOff val="10000"/>
                </a:srgbClr>
              </a:solidFill>
              <a:latin typeface="Montserrat Medium"/>
            </a:endParaRPr>
          </a:p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v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olume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and variance</a:t>
            </a:r>
            <a:b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</a:b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= complexity</a:t>
            </a:r>
          </a:p>
        </p:txBody>
      </p:sp>
      <p:sp>
        <p:nvSpPr>
          <p:cNvPr id="409" name="Rectangle: Rounded Corners 408">
            <a:extLst>
              <a:ext uri="{FF2B5EF4-FFF2-40B4-BE49-F238E27FC236}">
                <a16:creationId xmlns:a16="http://schemas.microsoft.com/office/drawing/2014/main" id="{2EDBBBE6-BA92-4584-AF11-3062DEED5059}"/>
              </a:ext>
            </a:extLst>
          </p:cNvPr>
          <p:cNvSpPr/>
          <p:nvPr/>
        </p:nvSpPr>
        <p:spPr>
          <a:xfrm>
            <a:off x="8129617" y="2965139"/>
            <a:ext cx="1101243" cy="618066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0" rIns="2925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a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verage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time </a:t>
            </a:r>
            <a:b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</a:b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to fill a teacher position = approx. 1 school term</a:t>
            </a:r>
          </a:p>
        </p:txBody>
      </p:sp>
      <p:sp>
        <p:nvSpPr>
          <p:cNvPr id="410" name="Rectangle: Rounded Corners 409">
            <a:extLst>
              <a:ext uri="{FF2B5EF4-FFF2-40B4-BE49-F238E27FC236}">
                <a16:creationId xmlns:a16="http://schemas.microsoft.com/office/drawing/2014/main" id="{62438DD3-C835-487F-BD73-3C5798A6113F}"/>
              </a:ext>
            </a:extLst>
          </p:cNvPr>
          <p:cNvSpPr/>
          <p:nvPr/>
        </p:nvSpPr>
        <p:spPr>
          <a:xfrm>
            <a:off x="1258015" y="4050622"/>
            <a:ext cx="1183665" cy="8775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29250" rIns="29250" bIns="292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i</a:t>
            </a:r>
            <a:r>
              <a:rPr lang="en-AU" sz="731" dirty="0" err="1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ncreased</a:t>
            </a: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 automation will drive efficiency gains and prepare the department for predicted growth in demand for services</a:t>
            </a:r>
          </a:p>
        </p:txBody>
      </p:sp>
      <p:sp>
        <p:nvSpPr>
          <p:cNvPr id="411" name="Rectangle: Rounded Corners 410">
            <a:extLst>
              <a:ext uri="{FF2B5EF4-FFF2-40B4-BE49-F238E27FC236}">
                <a16:creationId xmlns:a16="http://schemas.microsoft.com/office/drawing/2014/main" id="{BF83D3BA-0E56-4037-B15F-EEC2132C1649}"/>
              </a:ext>
            </a:extLst>
          </p:cNvPr>
          <p:cNvSpPr/>
          <p:nvPr/>
        </p:nvSpPr>
        <p:spPr>
          <a:xfrm>
            <a:off x="4017477" y="4050622"/>
            <a:ext cx="1170863" cy="8775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29250" rIns="29250" bIns="292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schools will see a substantial reduction in how long it takes to recruit staff across all hiring categories, particularly teacher recruitment</a:t>
            </a:r>
          </a:p>
        </p:txBody>
      </p:sp>
      <p:sp>
        <p:nvSpPr>
          <p:cNvPr id="413" name="Rectangle: Rounded Corners 412">
            <a:extLst>
              <a:ext uri="{FF2B5EF4-FFF2-40B4-BE49-F238E27FC236}">
                <a16:creationId xmlns:a16="http://schemas.microsoft.com/office/drawing/2014/main" id="{D3F99727-F237-4381-A66E-DCD8B73B8662}"/>
              </a:ext>
            </a:extLst>
          </p:cNvPr>
          <p:cNvSpPr/>
          <p:nvPr/>
        </p:nvSpPr>
        <p:spPr>
          <a:xfrm>
            <a:off x="2558399" y="4050622"/>
            <a:ext cx="1345314" cy="8775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29250" rIns="29250" bIns="292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intuitive and functional workflows will allow for easy tracking of requests and integrated views of budget allocations, entitlements and vacancies</a:t>
            </a:r>
          </a:p>
          <a:p>
            <a:pPr algn="ctr" defTabSz="371453">
              <a:defRPr/>
            </a:pPr>
            <a:endParaRPr lang="en-AU" sz="731" dirty="0">
              <a:solidFill>
                <a:srgbClr val="19233E">
                  <a:lumMod val="90000"/>
                  <a:lumOff val="10000"/>
                </a:srgbClr>
              </a:solidFill>
              <a:latin typeface="Montserrat Medium"/>
            </a:endParaRPr>
          </a:p>
        </p:txBody>
      </p:sp>
      <p:sp>
        <p:nvSpPr>
          <p:cNvPr id="414" name="Rectangle: Rounded Corners 413">
            <a:extLst>
              <a:ext uri="{FF2B5EF4-FFF2-40B4-BE49-F238E27FC236}">
                <a16:creationId xmlns:a16="http://schemas.microsoft.com/office/drawing/2014/main" id="{CE574DB1-CCFA-4738-A04E-B365C5ADCC8A}"/>
              </a:ext>
            </a:extLst>
          </p:cNvPr>
          <p:cNvSpPr/>
          <p:nvPr/>
        </p:nvSpPr>
        <p:spPr>
          <a:xfrm>
            <a:off x="6690471" y="4050622"/>
            <a:ext cx="1256735" cy="8775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50" tIns="29250" rIns="29250" bIns="292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capacity to recruit estimated to grow by 10% in the first 12 months after new systems &amp; processes are implemented, building to 25% after 6 years  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E637A185-7EA7-4CDB-8C04-6F1EFF95DC58}"/>
              </a:ext>
            </a:extLst>
          </p:cNvPr>
          <p:cNvSpPr txBox="1"/>
          <p:nvPr/>
        </p:nvSpPr>
        <p:spPr>
          <a:xfrm>
            <a:off x="236761" y="5198534"/>
            <a:ext cx="1066125" cy="2191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569" dirty="0">
                <a:solidFill>
                  <a:srgbClr val="000000"/>
                </a:solidFill>
                <a:latin typeface="Montserrat"/>
              </a:rPr>
              <a:t>*proposed aspirational targets for future state</a:t>
            </a:r>
            <a:endParaRPr lang="en-AU" sz="488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97008" y="5552751"/>
            <a:ext cx="1377833" cy="549396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defRPr/>
            </a:pPr>
            <a:endParaRPr lang="en-AU" sz="1625" dirty="0" err="1">
              <a:solidFill>
                <a:srgbClr val="FFFFFF"/>
              </a:solidFill>
              <a:latin typeface="Montserrat Medium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5246078" y="4050622"/>
            <a:ext cx="1378894" cy="621405"/>
          </a:xfrm>
          <a:prstGeom prst="rect">
            <a:avLst/>
          </a:prstGeom>
        </p:spPr>
        <p:txBody>
          <a:bodyPr wrap="square" lIns="29250" tIns="29250" rIns="29250" bIns="29250" anchor="t">
            <a:sp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a single, easy to use interface will reduce the need for repeat data entry and manual handovers across dataset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3114FB6-4E20-4213-8FDA-CB52EEB3DA64}"/>
              </a:ext>
            </a:extLst>
          </p:cNvPr>
          <p:cNvSpPr txBox="1"/>
          <p:nvPr/>
        </p:nvSpPr>
        <p:spPr>
          <a:xfrm>
            <a:off x="8047246" y="4050622"/>
            <a:ext cx="1264389" cy="877500"/>
          </a:xfrm>
          <a:prstGeom prst="rect">
            <a:avLst/>
          </a:prstGeom>
          <a:noFill/>
        </p:spPr>
        <p:txBody>
          <a:bodyPr wrap="square" lIns="29250" tIns="29250" rIns="29250" bIns="29250" rtlCol="0" anchor="t">
            <a:noAutofit/>
          </a:bodyPr>
          <a:lstStyle/>
          <a:p>
            <a:pPr algn="ctr" defTabSz="371453">
              <a:defRPr/>
            </a:pPr>
            <a:r>
              <a:rPr lang="en-AU" sz="731" dirty="0">
                <a:solidFill>
                  <a:srgbClr val="19233E">
                    <a:lumMod val="90000"/>
                    <a:lumOff val="10000"/>
                  </a:srgbClr>
                </a:solidFill>
                <a:latin typeface="Montserrat Medium"/>
              </a:rPr>
              <a:t>efficiency gains will return time to schools and corporate service areas, allowing resources to be allocated to higher value activities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35028" y="1561114"/>
            <a:ext cx="9278557" cy="297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71453">
              <a:defRPr/>
            </a:pPr>
            <a:r>
              <a:rPr lang="en-AU" sz="1300" b="1" dirty="0">
                <a:solidFill>
                  <a:srgbClr val="9D2235"/>
                </a:solidFill>
                <a:latin typeface="Montserrat SemiBold" panose="00000700000000000000" pitchFamily="2" charset="0"/>
              </a:rPr>
              <a:t>We have set aspirational targets − these may change as we learn more</a:t>
            </a:r>
          </a:p>
        </p:txBody>
      </p:sp>
      <p:sp>
        <p:nvSpPr>
          <p:cNvPr id="95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196839" y="5834064"/>
            <a:ext cx="607223" cy="22321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71453">
              <a:defRPr/>
            </a:pPr>
            <a:r>
              <a:rPr lang="en-US" sz="975" dirty="0">
                <a:solidFill>
                  <a:srgbClr val="19233E"/>
                </a:solidFill>
              </a:rPr>
              <a:t>Page 7</a:t>
            </a:r>
          </a:p>
        </p:txBody>
      </p:sp>
    </p:spTree>
    <p:extLst>
      <p:ext uri="{BB962C8B-B14F-4D97-AF65-F5344CB8AC3E}">
        <p14:creationId xmlns:p14="http://schemas.microsoft.com/office/powerpoint/2010/main" val="18299446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1"/>
          <p:cNvPicPr>
            <a:picLocks noGrp="1"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6" t="261" r="28194" b="-261"/>
          <a:stretch>
            <a:fillRect/>
          </a:stretch>
        </p:blipFill>
        <p:spPr bwMode="auto">
          <a:xfrm>
            <a:off x="0" y="642938"/>
            <a:ext cx="4956415" cy="5573063"/>
          </a:xfrm>
          <a:prstGeom prst="rect">
            <a:avLst/>
          </a:prstGeom>
          <a:blipFill dpi="0" rotWithShape="0">
            <a:blip r:embed="rId4"/>
            <a:srcRect l="12506" t="261" r="28194" b="-261"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4576366" y="629826"/>
            <a:ext cx="5430242" cy="5572125"/>
          </a:xfrm>
          <a:prstGeom prst="rect">
            <a:avLst/>
          </a:prstGeom>
          <a:solidFill>
            <a:srgbClr val="4AB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71453">
              <a:defRPr/>
            </a:pPr>
            <a:endParaRPr lang="en-AU" sz="1463" dirty="0">
              <a:solidFill>
                <a:prstClr val="white"/>
              </a:solidFill>
              <a:latin typeface="Montserrat Medium"/>
            </a:endParaRPr>
          </a:p>
        </p:txBody>
      </p:sp>
      <p:grpSp>
        <p:nvGrpSpPr>
          <p:cNvPr id="38" name="Group 1"/>
          <p:cNvGrpSpPr>
            <a:grpSpLocks/>
          </p:cNvGrpSpPr>
          <p:nvPr/>
        </p:nvGrpSpPr>
        <p:grpSpPr bwMode="auto">
          <a:xfrm>
            <a:off x="4684953" y="532536"/>
            <a:ext cx="5171056" cy="5770037"/>
            <a:chOff x="5050357" y="620064"/>
            <a:chExt cx="7374745" cy="6775578"/>
          </a:xfrm>
        </p:grpSpPr>
        <p:sp>
          <p:nvSpPr>
            <p:cNvPr id="39" name="Rectangle 38"/>
            <p:cNvSpPr/>
            <p:nvPr/>
          </p:nvSpPr>
          <p:spPr>
            <a:xfrm>
              <a:off x="5085021" y="1083344"/>
              <a:ext cx="7340081" cy="63122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32172" indent="-232172" defTabSz="371453">
                <a:buFont typeface="Arial" panose="020B0604020202020204" pitchFamily="34" charset="0"/>
                <a:buChar char="•"/>
                <a:defRPr/>
              </a:pPr>
              <a:endParaRPr lang="en-AU" sz="1056" dirty="0">
                <a:solidFill>
                  <a:srgbClr val="19233E"/>
                </a:solidFill>
                <a:latin typeface="Montserrat Medium"/>
              </a:endParaRPr>
            </a:p>
            <a:p>
              <a:pPr marL="232172" lvl="2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>
                  <a:solidFill>
                    <a:srgbClr val="19233E"/>
                  </a:solidFill>
                  <a:latin typeface="Montserrat Medium"/>
                </a:rPr>
                <a:t>A detailed assessment of our current state operations have been  finalised and we have validated that</a:t>
              </a:r>
            </a:p>
            <a:p>
              <a:pPr marL="603625" lvl="3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>
                  <a:solidFill>
                    <a:srgbClr val="19233E"/>
                  </a:solidFill>
                  <a:latin typeface="Montserrat Medium"/>
                </a:rPr>
                <a:t>there is high complexity with processes and systems ageing and no longer fit for purpose</a:t>
              </a:r>
            </a:p>
            <a:p>
              <a:pPr marL="232172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>
                  <a:solidFill>
                    <a:srgbClr val="19233E"/>
                  </a:solidFill>
                  <a:latin typeface="Montserrat Medium"/>
                </a:rPr>
                <a:t>Over the next two years we will work to transform a wide range of HR services, including:</a:t>
              </a:r>
            </a:p>
            <a:p>
              <a:pPr marL="466165" lvl="2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>
                  <a:solidFill>
                    <a:srgbClr val="19233E"/>
                  </a:solidFill>
                  <a:latin typeface="Montserrat Medium"/>
                </a:rPr>
                <a:t>workforce planning, organisation management, recruitment, onboarding, talent management, and performance development.</a:t>
              </a:r>
            </a:p>
            <a:p>
              <a:pPr marL="232172" lvl="2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>
                  <a:solidFill>
                    <a:srgbClr val="19233E"/>
                  </a:solidFill>
                  <a:latin typeface="Montserrat Medium"/>
                </a:rPr>
                <a:t>Improved HCM services will benefit school budget &amp; hiring managers and corporate staff supporting them</a:t>
              </a:r>
            </a:p>
            <a:p>
              <a:pPr marL="232172" lvl="2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>
                  <a:solidFill>
                    <a:srgbClr val="19233E"/>
                  </a:solidFill>
                  <a:latin typeface="Montserrat Medium"/>
                </a:rPr>
                <a:t>2 SPC &amp; 2 PPA nominated and endorsed Principals are working full-time in the HCM </a:t>
              </a:r>
              <a:r>
                <a:rPr lang="en-AU" sz="1056" dirty="0" smtClean="0">
                  <a:solidFill>
                    <a:srgbClr val="19233E"/>
                  </a:solidFill>
                  <a:latin typeface="Montserrat Medium"/>
                </a:rPr>
                <a:t>Program</a:t>
              </a:r>
            </a:p>
            <a:p>
              <a:pPr marL="232172" lvl="2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 smtClean="0">
                  <a:solidFill>
                    <a:srgbClr val="19233E"/>
                  </a:solidFill>
                  <a:latin typeface="Montserrat Medium"/>
                </a:rPr>
                <a:t>Change impact to schools to will be minimised. </a:t>
              </a:r>
              <a:r>
                <a:rPr lang="en-AU" sz="1056" dirty="0">
                  <a:solidFill>
                    <a:srgbClr val="19233E"/>
                  </a:solidFill>
                  <a:latin typeface="Montserrat Medium"/>
                </a:rPr>
                <a:t>W</a:t>
              </a:r>
              <a:r>
                <a:rPr lang="en-AU" sz="1056" dirty="0" smtClean="0">
                  <a:solidFill>
                    <a:srgbClr val="19233E"/>
                  </a:solidFill>
                  <a:latin typeface="Montserrat Medium"/>
                </a:rPr>
                <a:t>here possible, schools will be deployed to only once. No change to schools before July 2020.</a:t>
              </a:r>
              <a:endParaRPr lang="en-AU" sz="1056" dirty="0">
                <a:solidFill>
                  <a:srgbClr val="19233E"/>
                </a:solidFill>
                <a:latin typeface="Montserrat Medium"/>
              </a:endParaRPr>
            </a:p>
            <a:p>
              <a:pPr marL="232172" lvl="2" indent="-232172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 smtClean="0">
                  <a:solidFill>
                    <a:srgbClr val="19233E"/>
                  </a:solidFill>
                  <a:latin typeface="Montserrat Medium"/>
                  <a:sym typeface="Helvetica Light"/>
                </a:rPr>
                <a:t>School-centric testing will follow the traditional use acceptance testing, putting schools at the centre of the go-live decision</a:t>
              </a:r>
              <a:endParaRPr lang="en-AU" sz="1056" dirty="0">
                <a:solidFill>
                  <a:srgbClr val="19233E"/>
                </a:solidFill>
                <a:latin typeface="Montserrat Medium"/>
                <a:sym typeface="Helvetica Light"/>
              </a:endParaRPr>
            </a:p>
            <a:p>
              <a:pPr marL="278606" lvl="2" indent="-278606" defTabSz="335359">
                <a:lnSpc>
                  <a:spcPct val="120000"/>
                </a:lnSpc>
                <a:spcAft>
                  <a:spcPts val="975"/>
                </a:spcAft>
                <a:buClr>
                  <a:prstClr val="white"/>
                </a:buClr>
                <a:buSzPct val="120000"/>
                <a:buFont typeface="Wingdings" panose="05000000000000000000" pitchFamily="2" charset="2"/>
                <a:buChar char="ü"/>
                <a:defRPr/>
              </a:pPr>
              <a:r>
                <a:rPr lang="en-AU" sz="1056" dirty="0" smtClean="0">
                  <a:solidFill>
                    <a:srgbClr val="19233E"/>
                  </a:solidFill>
                  <a:latin typeface="Montserrat Medium"/>
                </a:rPr>
                <a:t>Invitations to 9 sessions to visit the HCM program collaboration area in Parramatta running during June 2019 to experience and validate the current state process reality</a:t>
              </a:r>
              <a:endParaRPr lang="en-AU" sz="1056" dirty="0">
                <a:solidFill>
                  <a:srgbClr val="19233E"/>
                </a:solidFill>
                <a:latin typeface="Montserrat Medium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050357" y="620064"/>
              <a:ext cx="7179757" cy="753697"/>
            </a:xfrm>
            <a:prstGeom prst="rect">
              <a:avLst/>
            </a:prstGeom>
            <a:noFill/>
            <a:ln w="762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lIns="20638" tIns="20638" rIns="20638" bIns="20638" spcCol="38100" anchor="ctr">
              <a:spAutoFit/>
            </a:bodyPr>
            <a:lstStyle/>
            <a:p>
              <a:pPr algn="ctr" defTabSz="335359">
                <a:lnSpc>
                  <a:spcPct val="120000"/>
                </a:lnSpc>
                <a:defRPr/>
              </a:pPr>
              <a:r>
                <a:rPr lang="en-AU" sz="325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rPr>
                <a:t>Key HCM </a:t>
              </a:r>
              <a:r>
                <a:rPr lang="en-AU" sz="32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rPr>
                <a:t>takeaways</a:t>
              </a:r>
              <a:r>
                <a:rPr lang="en-AU" sz="325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 Light"/>
                </a:rPr>
                <a:t> </a:t>
              </a:r>
              <a:endParaRPr lang="en-AU" sz="325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091539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751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6" imgW="573" imgH="574" progId="TCLayout.ActiveDocument.1">
                  <p:embed/>
                </p:oleObj>
              </mc:Choice>
              <mc:Fallback>
                <p:oleObj name="think-cell Slide" r:id="rId6" imgW="573" imgH="574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 err="1" smtClean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811624" y="3775045"/>
            <a:ext cx="2081212" cy="6381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000" dirty="0" err="1" smtClean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0176EE4-0A15-8940-9AE8-23BE389D8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820" y="661565"/>
            <a:ext cx="9273546" cy="498470"/>
          </a:xfrm>
        </p:spPr>
        <p:txBody>
          <a:bodyPr/>
          <a:lstStyle/>
          <a:p>
            <a:r>
              <a:rPr lang="en-US" dirty="0" smtClean="0"/>
              <a:t>Strategy and Delivery Overview</a:t>
            </a:r>
            <a:endParaRPr lang="en-US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87952D8C-97BA-744D-B3CA-6B9ABA2B2E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 algn="l">
              <a:defRPr sz="1200"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Page </a:t>
            </a:r>
            <a:fld id="{9B9BA90C-EAA5-9446-B68C-B7124104B36D}" type="slidenum">
              <a:rPr lang="en-US" smtClean="0">
                <a:solidFill>
                  <a:schemeClr val="tx2"/>
                </a:solidFill>
              </a:rPr>
              <a:pPr/>
              <a:t>2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B93055-5092-2541-86BD-705B4CE09A3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49691" y="2981327"/>
            <a:ext cx="2674339" cy="555176"/>
          </a:xfrm>
        </p:spPr>
        <p:txBody>
          <a:bodyPr/>
          <a:lstStyle/>
          <a:p>
            <a:r>
              <a:rPr lang="en-US" b="1" dirty="0" smtClean="0"/>
              <a:t>Strategy, Policy &amp; Governance</a:t>
            </a:r>
            <a:endParaRPr lang="en-US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5214925-9A2A-D348-A305-14CFCD2D8B1A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316229" y="3729052"/>
            <a:ext cx="2231028" cy="1683835"/>
          </a:xfrm>
        </p:spPr>
        <p:txBody>
          <a:bodyPr/>
          <a:lstStyle/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Strategic planning &amp; Support 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Ministerial &amp; Cabinet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Policy Coordination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Risk, Governance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1" i="1" dirty="0" smtClean="0"/>
              <a:t>Reconciliation Action Plan; Annual Report; Strategic Pla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BF1908-83FE-D047-AD87-5B3423C441E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068405" y="2950629"/>
            <a:ext cx="2202632" cy="555176"/>
          </a:xfrm>
        </p:spPr>
        <p:txBody>
          <a:bodyPr/>
          <a:lstStyle/>
          <a:p>
            <a:r>
              <a:rPr lang="en-US" b="1" dirty="0" smtClean="0"/>
              <a:t>Communication &amp; Engagement</a:t>
            </a:r>
            <a:endParaRPr lang="en-US" b="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B2365C8-048A-5B4E-AC61-2212C2429BF9}"/>
              </a:ext>
            </a:extLst>
          </p:cNvPr>
          <p:cNvSpPr>
            <a:spLocks noGrp="1"/>
          </p:cNvSpPr>
          <p:nvPr>
            <p:ph sz="quarter" idx="49"/>
          </p:nvPr>
        </p:nvSpPr>
        <p:spPr>
          <a:xfrm>
            <a:off x="2903084" y="3775045"/>
            <a:ext cx="2049916" cy="1683835"/>
          </a:xfrm>
        </p:spPr>
        <p:txBody>
          <a:bodyPr/>
          <a:lstStyle/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ommunication &amp; Leadership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Strategic Communicatio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ontent &amp; Engagement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endParaRPr lang="en-US" b="1" dirty="0"/>
          </a:p>
          <a:p>
            <a:pPr lvl="1">
              <a:lnSpc>
                <a:spcPct val="100000"/>
              </a:lnSpc>
              <a:spcAft>
                <a:spcPts val="0"/>
              </a:spcAft>
            </a:pPr>
            <a:endParaRPr lang="en-US" b="1" dirty="0" smtClean="0"/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en-US" b="1" i="1" dirty="0" smtClean="0"/>
              <a:t>Gamer Changer Challenge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en-US" b="1" i="1" dirty="0" smtClean="0"/>
              <a:t>Education Week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en-US" b="1" i="1" dirty="0" smtClean="0"/>
              <a:t>Support for schools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endParaRPr lang="en-US" b="1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B727FBC-B215-3046-9449-E446C8E1AC81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592762" y="2950629"/>
            <a:ext cx="1795326" cy="555176"/>
          </a:xfrm>
        </p:spPr>
        <p:txBody>
          <a:bodyPr/>
          <a:lstStyle/>
          <a:p>
            <a:r>
              <a:rPr lang="en-US" b="1" dirty="0" smtClean="0"/>
              <a:t>Delivery Unit</a:t>
            </a:r>
            <a:endParaRPr lang="en-US" b="1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C193630-C5F3-3541-8C9C-9B934210BAD1}"/>
              </a:ext>
            </a:extLst>
          </p:cNvPr>
          <p:cNvSpPr>
            <a:spLocks noGrp="1"/>
          </p:cNvSpPr>
          <p:nvPr>
            <p:ph sz="quarter" idx="51"/>
          </p:nvPr>
        </p:nvSpPr>
        <p:spPr>
          <a:xfrm>
            <a:off x="5567912" y="3768241"/>
            <a:ext cx="1951939" cy="1683835"/>
          </a:xfrm>
        </p:spPr>
        <p:txBody>
          <a:bodyPr/>
          <a:lstStyle/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Improving school &amp; student performance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Boosting teacher quality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Supporting leadership</a:t>
            </a:r>
            <a:endParaRPr lang="en-US" dirty="0" smtClean="0"/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Improving systems for schools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Great place to </a:t>
            </a:r>
            <a:r>
              <a:rPr lang="en-US" dirty="0" smtClean="0"/>
              <a:t>work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28FA37C-550B-6242-8637-4012288DDCE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876838" y="2950629"/>
            <a:ext cx="1675758" cy="555176"/>
          </a:xfrm>
        </p:spPr>
        <p:txBody>
          <a:bodyPr/>
          <a:lstStyle/>
          <a:p>
            <a:r>
              <a:rPr lang="en-US" b="1" dirty="0" smtClean="0"/>
              <a:t>Special Projects</a:t>
            </a:r>
            <a:endParaRPr lang="en-US" b="1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892F90D-D0B1-1548-A762-952C697CAFF9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7876838" y="3768241"/>
            <a:ext cx="1950785" cy="1683835"/>
          </a:xfrm>
        </p:spPr>
        <p:txBody>
          <a:bodyPr/>
          <a:lstStyle/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1" dirty="0" smtClean="0"/>
              <a:t>Strengthening HR processes &amp; systems 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Reducing the </a:t>
            </a:r>
            <a:r>
              <a:rPr lang="en-US" smtClean="0"/>
              <a:t>Administrative burden</a:t>
            </a:r>
            <a:endParaRPr lang="en-US" dirty="0" smtClean="0"/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Staffing methodology review</a:t>
            </a:r>
          </a:p>
          <a:p>
            <a:pPr marL="144000" lvl="0" indent="-1440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Disability strategy implementation</a:t>
            </a:r>
            <a:endParaRPr lang="en-US" dirty="0"/>
          </a:p>
        </p:txBody>
      </p:sp>
      <p:pic>
        <p:nvPicPr>
          <p:cNvPr id="22" name="Picture Placeholder 21"/>
          <p:cNvPicPr>
            <a:picLocks noGrp="1" noChangeAspect="1"/>
          </p:cNvPicPr>
          <p:nvPr>
            <p:ph type="pic" sz="quarter" idx="33"/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8" r="12078"/>
          <a:stretch>
            <a:fillRect/>
          </a:stretch>
        </p:blipFill>
        <p:spPr>
          <a:xfrm>
            <a:off x="960586" y="1525588"/>
            <a:ext cx="1384991" cy="1382712"/>
          </a:xfrm>
        </p:spPr>
      </p:pic>
      <p:pic>
        <p:nvPicPr>
          <p:cNvPr id="32" name="Picture Placeholder 31"/>
          <p:cNvPicPr>
            <a:picLocks noGrp="1" noChangeAspect="1"/>
          </p:cNvPicPr>
          <p:nvPr>
            <p:ph type="pic" sz="quarter" idx="42"/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6" r="14976"/>
          <a:stretch>
            <a:fillRect/>
          </a:stretch>
        </p:blipFill>
        <p:spPr>
          <a:xfrm>
            <a:off x="3477571" y="1525588"/>
            <a:ext cx="1384300" cy="1382713"/>
          </a:xfrm>
        </p:spPr>
      </p:pic>
      <p:pic>
        <p:nvPicPr>
          <p:cNvPr id="34" name="Picture Placeholder 33"/>
          <p:cNvPicPr>
            <a:picLocks noGrp="1" noChangeAspect="1"/>
          </p:cNvPicPr>
          <p:nvPr>
            <p:ph type="pic" sz="quarter" idx="43"/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1" r="16611"/>
          <a:stretch>
            <a:fillRect/>
          </a:stretch>
        </p:blipFill>
        <p:spPr>
          <a:xfrm>
            <a:off x="5798275" y="1525588"/>
            <a:ext cx="1384300" cy="1382712"/>
          </a:xfrm>
        </p:spPr>
      </p:pic>
      <p:pic>
        <p:nvPicPr>
          <p:cNvPr id="36" name="Picture Placeholder 35"/>
          <p:cNvPicPr>
            <a:picLocks noGrp="1" noChangeAspect="1"/>
          </p:cNvPicPr>
          <p:nvPr>
            <p:ph type="pic" sz="quarter" idx="44"/>
          </p:nvPr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32" r="16732"/>
          <a:stretch>
            <a:fillRect/>
          </a:stretch>
        </p:blipFill>
        <p:spPr>
          <a:xfrm>
            <a:off x="8021774" y="1525588"/>
            <a:ext cx="1385887" cy="1382712"/>
          </a:xfrm>
        </p:spPr>
      </p:pic>
    </p:spTree>
    <p:extLst>
      <p:ext uri="{BB962C8B-B14F-4D97-AF65-F5344CB8AC3E}">
        <p14:creationId xmlns:p14="http://schemas.microsoft.com/office/powerpoint/2010/main" val="10863895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381000" y="263769"/>
            <a:ext cx="146538" cy="146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3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9233467" y="67296"/>
            <a:ext cx="601515" cy="601477"/>
            <a:chOff x="9177934" y="84083"/>
            <a:chExt cx="651641" cy="651600"/>
          </a:xfrm>
        </p:grpSpPr>
        <p:sp>
          <p:nvSpPr>
            <p:cNvPr id="9" name="Oval 8"/>
            <p:cNvSpPr/>
            <p:nvPr/>
          </p:nvSpPr>
          <p:spPr>
            <a:xfrm>
              <a:off x="9177934" y="84083"/>
              <a:ext cx="651641" cy="651600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46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23754" y="229883"/>
              <a:ext cx="360000" cy="360000"/>
            </a:xfrm>
            <a:prstGeom prst="rect">
              <a:avLst/>
            </a:prstGeom>
          </p:spPr>
        </p:pic>
      </p:grpSp>
      <p:sp>
        <p:nvSpPr>
          <p:cNvPr id="11" name="Rectangle 10"/>
          <p:cNvSpPr>
            <a:spLocks/>
          </p:cNvSpPr>
          <p:nvPr/>
        </p:nvSpPr>
        <p:spPr>
          <a:xfrm>
            <a:off x="1010415" y="5567384"/>
            <a:ext cx="8160793" cy="546945"/>
          </a:xfrm>
          <a:prstGeom prst="rect">
            <a:avLst/>
          </a:prstGeom>
          <a:solidFill>
            <a:srgbClr val="19233E"/>
          </a:solidFill>
        </p:spPr>
        <p:txBody>
          <a:bodyPr wrap="square">
            <a:sp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7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chool time counts. We are tracking every hour we give back to schools to focus on their core business of teaching, leading and supporting our student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264350" y="2557343"/>
            <a:ext cx="755012" cy="734560"/>
            <a:chOff x="1123950" y="2198370"/>
            <a:chExt cx="914400" cy="914400"/>
          </a:xfrm>
        </p:grpSpPr>
        <p:sp>
          <p:nvSpPr>
            <p:cNvPr id="4" name="Oval 3"/>
            <p:cNvSpPr/>
            <p:nvPr/>
          </p:nvSpPr>
          <p:spPr>
            <a:xfrm>
              <a:off x="1123950" y="2198370"/>
              <a:ext cx="914400" cy="914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46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4814" y="2339234"/>
              <a:ext cx="632671" cy="632671"/>
            </a:xfrm>
            <a:prstGeom prst="rect">
              <a:avLst/>
            </a:prstGeom>
          </p:spPr>
        </p:pic>
      </p:grpSp>
      <p:sp>
        <p:nvSpPr>
          <p:cNvPr id="16" name="Oval 15"/>
          <p:cNvSpPr/>
          <p:nvPr/>
        </p:nvSpPr>
        <p:spPr>
          <a:xfrm>
            <a:off x="1264349" y="3405063"/>
            <a:ext cx="755012" cy="73456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4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264349" y="4252781"/>
            <a:ext cx="755012" cy="73456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4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768" y="4397179"/>
            <a:ext cx="458176" cy="44576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769" y="3561344"/>
            <a:ext cx="462619" cy="450088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953223" y="3711287"/>
            <a:ext cx="1384189" cy="5448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85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338,000 </a:t>
            </a:r>
            <a:r>
              <a:rPr kumimoji="0" lang="en-AU" sz="2585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hours </a:t>
            </a:r>
          </a:p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92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across the syste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227967" y="3500742"/>
            <a:ext cx="1384189" cy="5448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85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9</a:t>
            </a:r>
            <a:r>
              <a:rPr kumimoji="0" lang="en-AU" sz="2585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hours </a:t>
            </a:r>
            <a:endParaRPr kumimoji="0" lang="en-AU" sz="2585" b="1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92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per admin staff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227967" y="4382295"/>
            <a:ext cx="1384189" cy="5448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85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2</a:t>
            </a:r>
            <a:r>
              <a:rPr kumimoji="0" lang="en-AU" sz="2585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 </a:t>
            </a:r>
            <a:r>
              <a:rPr kumimoji="0" lang="en-AU" sz="2585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hours </a:t>
            </a:r>
          </a:p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92" b="0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per teacher</a:t>
            </a:r>
            <a:endParaRPr kumimoji="0" lang="en-AU" sz="1292" b="0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22" name="Isosceles Triangle 21"/>
          <p:cNvSpPr/>
          <p:nvPr/>
        </p:nvSpPr>
        <p:spPr>
          <a:xfrm rot="5400000">
            <a:off x="2762302" y="3693744"/>
            <a:ext cx="2389288" cy="22654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4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7229201" y="2928133"/>
            <a:ext cx="755012" cy="734560"/>
            <a:chOff x="4721360" y="3052176"/>
            <a:chExt cx="914400" cy="914400"/>
          </a:xfrm>
        </p:grpSpPr>
        <p:sp>
          <p:nvSpPr>
            <p:cNvPr id="28" name="Oval 27"/>
            <p:cNvSpPr/>
            <p:nvPr/>
          </p:nvSpPr>
          <p:spPr>
            <a:xfrm>
              <a:off x="4721360" y="3052176"/>
              <a:ext cx="914400" cy="914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46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0059" y="3190875"/>
              <a:ext cx="637002" cy="637002"/>
            </a:xfrm>
            <a:prstGeom prst="rect">
              <a:avLst/>
            </a:prstGeom>
          </p:spPr>
        </p:pic>
      </p:grpSp>
      <p:sp>
        <p:nvSpPr>
          <p:cNvPr id="31" name="TextBox 30"/>
          <p:cNvSpPr txBox="1"/>
          <p:nvPr/>
        </p:nvSpPr>
        <p:spPr>
          <a:xfrm>
            <a:off x="2227967" y="2652181"/>
            <a:ext cx="1384189" cy="5448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85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66 </a:t>
            </a:r>
            <a:r>
              <a:rPr kumimoji="0" lang="en-AU" sz="2585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hours </a:t>
            </a:r>
          </a:p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92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per principa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264349" y="2175538"/>
            <a:ext cx="2357922" cy="27994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62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Since Jan 2018, we have saved:</a:t>
            </a:r>
            <a:endParaRPr kumimoji="0" lang="en-AU" sz="969" b="0" i="0" u="none" strike="noStrike" kern="1200" cap="none" spc="0" normalizeH="0" baseline="0" noProof="0" dirty="0">
              <a:ln>
                <a:noFill/>
              </a:ln>
              <a:solidFill>
                <a:srgbClr val="19233E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713306" y="2928133"/>
            <a:ext cx="755012" cy="734560"/>
            <a:chOff x="3682338" y="3520056"/>
            <a:chExt cx="817930" cy="795773"/>
          </a:xfrm>
        </p:grpSpPr>
        <p:sp>
          <p:nvSpPr>
            <p:cNvPr id="32" name="Oval 31"/>
            <p:cNvSpPr/>
            <p:nvPr/>
          </p:nvSpPr>
          <p:spPr>
            <a:xfrm>
              <a:off x="3682338" y="3520056"/>
              <a:ext cx="817930" cy="79577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46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9861" y="3675895"/>
              <a:ext cx="483504" cy="483504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4398718" y="3707899"/>
            <a:ext cx="1384189" cy="5448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585" b="1" i="0" u="none" strike="noStrike" kern="1200" cap="none" spc="0" normalizeH="0" baseline="0" noProof="0" dirty="0" smtClean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153 </a:t>
            </a:r>
            <a:r>
              <a:rPr kumimoji="0" lang="en-AU" sz="2585" b="1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hours </a:t>
            </a:r>
          </a:p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92" b="0" i="0" u="none" strike="noStrike" kern="1200" cap="none" spc="0" normalizeH="0" baseline="0" noProof="0" dirty="0">
                <a:ln>
                  <a:noFill/>
                </a:ln>
                <a:solidFill>
                  <a:srgbClr val="19233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rPr>
              <a:t>per school</a:t>
            </a:r>
          </a:p>
        </p:txBody>
      </p:sp>
      <p:sp>
        <p:nvSpPr>
          <p:cNvPr id="35" name="Isosceles Triangle 34"/>
          <p:cNvSpPr/>
          <p:nvPr/>
        </p:nvSpPr>
        <p:spPr>
          <a:xfrm rot="5400000">
            <a:off x="4951906" y="3693746"/>
            <a:ext cx="2389288" cy="22654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4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/>
              <a:ea typeface="+mn-ea"/>
              <a:cs typeface="+mn-cs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316228" y="668773"/>
            <a:ext cx="9273546" cy="941046"/>
          </a:xfrm>
        </p:spPr>
        <p:txBody>
          <a:bodyPr/>
          <a:lstStyle/>
          <a:p>
            <a:r>
              <a:rPr lang="en-AU" sz="3600" dirty="0"/>
              <a:t>School time matters and we are counting every hour we </a:t>
            </a:r>
            <a:r>
              <a:rPr lang="en-AU" sz="3600" dirty="0" smtClean="0"/>
              <a:t>sav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04245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381000" y="857251"/>
            <a:ext cx="119062" cy="1190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17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35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401"/>
            <a:r>
              <a:rPr lang="en-AU" dirty="0" smtClean="0">
                <a:latin typeface="+mj-lt"/>
              </a:rPr>
              <a:t>2018 departmental achievements</a:t>
            </a:r>
            <a:endParaRPr lang="en-AU" baseline="60000" dirty="0">
              <a:latin typeface="+mj-lt"/>
              <a:ea typeface="+mj-ea"/>
              <a:cs typeface="+mj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AU" dirty="0" smtClean="0"/>
              <a:t>What has changed for our school staff 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373290" y="2080936"/>
            <a:ext cx="8929735" cy="3749382"/>
            <a:chOff x="776536" y="2097974"/>
            <a:chExt cx="8584438" cy="3749382"/>
          </a:xfrm>
        </p:grpSpPr>
        <p:grpSp>
          <p:nvGrpSpPr>
            <p:cNvPr id="54" name="Group 53"/>
            <p:cNvGrpSpPr/>
            <p:nvPr/>
          </p:nvGrpSpPr>
          <p:grpSpPr>
            <a:xfrm>
              <a:off x="776536" y="4634704"/>
              <a:ext cx="1898490" cy="1212652"/>
              <a:chOff x="428497" y="2092722"/>
              <a:chExt cx="2405764" cy="1313706"/>
            </a:xfrm>
            <a:solidFill>
              <a:srgbClr val="19233E"/>
            </a:solidFill>
          </p:grpSpPr>
          <p:sp>
            <p:nvSpPr>
              <p:cNvPr id="55" name="Rectangle 54"/>
              <p:cNvSpPr>
                <a:spLocks/>
              </p:cNvSpPr>
              <p:nvPr/>
            </p:nvSpPr>
            <p:spPr>
              <a:xfrm>
                <a:off x="428497" y="2092722"/>
                <a:ext cx="2405764" cy="131370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1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428497" y="2328130"/>
                <a:ext cx="2405764" cy="377118"/>
              </a:xfrm>
              <a:prstGeom prst="rect">
                <a:avLst/>
              </a:prstGeom>
              <a:grp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1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662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 Light" charset="0"/>
                    <a:ea typeface="ＭＳ Ｐゴシック" charset="0"/>
                    <a:cs typeface="+mn-cs"/>
                  </a:rPr>
                  <a:t>Admin staff</a:t>
                </a:r>
                <a:endParaRPr kumimoji="0" lang="en-AU" sz="1662" b="1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Light" charset="0"/>
                  <a:ea typeface="ＭＳ Ｐゴシック" charset="0"/>
                  <a:cs typeface="+mn-cs"/>
                </a:endParaRPr>
              </a:p>
            </p:txBody>
          </p:sp>
        </p:grpSp>
        <p:cxnSp>
          <p:nvCxnSpPr>
            <p:cNvPr id="50" name="Straight Connector 49"/>
            <p:cNvCxnSpPr>
              <a:cxnSpLocks/>
            </p:cNvCxnSpPr>
            <p:nvPr/>
          </p:nvCxnSpPr>
          <p:spPr>
            <a:xfrm>
              <a:off x="776536" y="4609014"/>
              <a:ext cx="8280920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>
              <a:cxnSpLocks/>
            </p:cNvCxnSpPr>
            <p:nvPr/>
          </p:nvCxnSpPr>
          <p:spPr>
            <a:xfrm>
              <a:off x="776536" y="3339362"/>
              <a:ext cx="841116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TextBox 172"/>
            <p:cNvSpPr txBox="1">
              <a:spLocks/>
            </p:cNvSpPr>
            <p:nvPr/>
          </p:nvSpPr>
          <p:spPr>
            <a:xfrm>
              <a:off x="2744048" y="2097975"/>
              <a:ext cx="3538379" cy="1193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/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Removed School profile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Improved Anti-bullying policy user friendliness 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Improved Sports policy user friendliness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Improved Consolidated schools schedule user friendliness</a:t>
              </a:r>
            </a:p>
          </p:txBody>
        </p:sp>
        <p:sp>
          <p:nvSpPr>
            <p:cNvPr id="102" name="TextBox 101"/>
            <p:cNvSpPr txBox="1">
              <a:spLocks/>
            </p:cNvSpPr>
            <p:nvPr/>
          </p:nvSpPr>
          <p:spPr>
            <a:xfrm>
              <a:off x="6351448" y="2097974"/>
              <a:ext cx="3009526" cy="13918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/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Made A-Z tool opt-in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Fixed SPaRO tool copy+paste issues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Increased mailbox size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Extended Pcard reviewing rights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Shifted ‘blank reports’ to monthly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A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ＭＳ Ｐゴシック" charset="0"/>
                <a:cs typeface="+mn-cs"/>
              </a:endParaRPr>
            </a:p>
          </p:txBody>
        </p:sp>
        <p:sp>
          <p:nvSpPr>
            <p:cNvPr id="148" name="TextBox 147"/>
            <p:cNvSpPr txBox="1">
              <a:spLocks/>
            </p:cNvSpPr>
            <p:nvPr/>
          </p:nvSpPr>
          <p:spPr>
            <a:xfrm>
              <a:off x="2744048" y="3365556"/>
              <a:ext cx="3538379" cy="1193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/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Enabled system set-up for new starters prior to commencement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Reduced Scout compliance training by 45 mins 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Increased mailbox size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Shifted password reset out of holidays </a:t>
              </a: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2744049" y="4634706"/>
              <a:ext cx="3638497" cy="1193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none" lIns="0" tIns="0" rIns="0" bIns="0" rtlCol="0">
              <a:spAutoFit/>
            </a:bodyPr>
            <a:lstStyle/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Increased mailbox size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Upgraded EBS to reduce printing errors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Upgraded EBS to increase log in speed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Removed Pcard pre-approval requirement</a:t>
              </a:r>
            </a:p>
            <a:p>
              <a:pPr marL="99695" marR="0" lvl="0" indent="-99695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AU" sz="129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ＭＳ Ｐゴシック" charset="0"/>
                  <a:cs typeface="+mn-cs"/>
                </a:rPr>
                <a:t>Shifted ‘blank reports’ to monthly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ＭＳ Ｐゴシック" charset="0"/>
                <a:cs typeface="+mn-cs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776536" y="2097974"/>
              <a:ext cx="1898490" cy="1212652"/>
              <a:chOff x="428497" y="2092722"/>
              <a:chExt cx="2405764" cy="1313706"/>
            </a:xfrm>
            <a:solidFill>
              <a:srgbClr val="19233E"/>
            </a:solidFill>
          </p:grpSpPr>
          <p:sp>
            <p:nvSpPr>
              <p:cNvPr id="18" name="Rectangle 17"/>
              <p:cNvSpPr>
                <a:spLocks/>
              </p:cNvSpPr>
              <p:nvPr/>
            </p:nvSpPr>
            <p:spPr>
              <a:xfrm>
                <a:off x="428497" y="2092722"/>
                <a:ext cx="2405764" cy="131370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1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428497" y="2328130"/>
                <a:ext cx="2405764" cy="377118"/>
              </a:xfrm>
              <a:prstGeom prst="rect">
                <a:avLst/>
              </a:prstGeom>
              <a:grp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1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662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 Light" charset="0"/>
                    <a:ea typeface="ＭＳ Ｐゴシック" charset="0"/>
                    <a:cs typeface="+mn-cs"/>
                  </a:rPr>
                  <a:t>Principals</a:t>
                </a:r>
                <a:endParaRPr kumimoji="0" lang="en-AU" sz="1662" b="1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Light" charset="0"/>
                  <a:ea typeface="ＭＳ Ｐゴシック" charset="0"/>
                  <a:cs typeface="+mn-cs"/>
                </a:endParaRPr>
              </a:p>
            </p:txBody>
          </p:sp>
        </p:grpSp>
        <p:grpSp>
          <p:nvGrpSpPr>
            <p:cNvPr id="49" name="Group 48"/>
            <p:cNvGrpSpPr/>
            <p:nvPr/>
          </p:nvGrpSpPr>
          <p:grpSpPr>
            <a:xfrm>
              <a:off x="776536" y="3377368"/>
              <a:ext cx="1898490" cy="1212652"/>
              <a:chOff x="428497" y="2092722"/>
              <a:chExt cx="2405764" cy="1313706"/>
            </a:xfrm>
            <a:solidFill>
              <a:srgbClr val="19233E"/>
            </a:solidFill>
          </p:grpSpPr>
          <p:sp>
            <p:nvSpPr>
              <p:cNvPr id="52" name="Rectangle 51"/>
              <p:cNvSpPr>
                <a:spLocks/>
              </p:cNvSpPr>
              <p:nvPr/>
            </p:nvSpPr>
            <p:spPr>
              <a:xfrm>
                <a:off x="428497" y="2092722"/>
                <a:ext cx="2405764" cy="131370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1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428497" y="2328130"/>
                <a:ext cx="2405764" cy="377118"/>
              </a:xfrm>
              <a:prstGeom prst="rect">
                <a:avLst/>
              </a:prstGeom>
              <a:grp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1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662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 Light" charset="0"/>
                    <a:ea typeface="ＭＳ Ｐゴシック" charset="0"/>
                    <a:cs typeface="+mn-cs"/>
                  </a:rPr>
                  <a:t>Teachers</a:t>
                </a:r>
                <a:endParaRPr kumimoji="0" lang="en-AU" sz="1662" b="1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Light" charset="0"/>
                  <a:ea typeface="ＭＳ Ｐゴシック" charset="0"/>
                  <a:cs typeface="+mn-cs"/>
                </a:endParaRP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1455730" y="2721525"/>
              <a:ext cx="540102" cy="2920792"/>
              <a:chOff x="1338824" y="2406259"/>
              <a:chExt cx="585110" cy="3164191"/>
            </a:xfrm>
          </p:grpSpPr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48258" y="5111319"/>
                <a:ext cx="366242" cy="459131"/>
              </a:xfrm>
              <a:prstGeom prst="rect">
                <a:avLst/>
              </a:prstGeom>
            </p:spPr>
          </p:pic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56018" y="2406259"/>
                <a:ext cx="350723" cy="401186"/>
              </a:xfrm>
              <a:prstGeom prst="rect">
                <a:avLst/>
              </a:prstGeom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87BEB905-1B23-EF45-A060-9A29D823A8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hqprint">
                <a:clrChange>
                  <a:clrFrom>
                    <a:srgbClr val="385E9D"/>
                  </a:clrFrom>
                  <a:clrTo>
                    <a:srgbClr val="385E9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38824" y="3691784"/>
                <a:ext cx="585110" cy="73351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91992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33" y="3024226"/>
            <a:ext cx="7814404" cy="900247"/>
          </a:xfrm>
        </p:spPr>
        <p:txBody>
          <a:bodyPr/>
          <a:lstStyle/>
          <a:p>
            <a:r>
              <a:rPr lang="en-AU" sz="2600" spc="-16" dirty="0"/>
              <a:t>Human Capital Management (HCM)</a:t>
            </a:r>
            <a:br>
              <a:rPr lang="en-AU" sz="2600" spc="-16" dirty="0"/>
            </a:br>
            <a:r>
              <a:rPr lang="en-AU" sz="2600" spc="-16" dirty="0"/>
              <a:t/>
            </a:r>
            <a:br>
              <a:rPr lang="en-AU" sz="2600" spc="-16" dirty="0"/>
            </a:br>
            <a:r>
              <a:rPr lang="en-AU" sz="2600" spc="-16" dirty="0"/>
              <a:t>Program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13233" y="4533925"/>
            <a:ext cx="3766778" cy="225062"/>
          </a:xfrm>
        </p:spPr>
        <p:txBody>
          <a:bodyPr/>
          <a:lstStyle/>
          <a:p>
            <a:r>
              <a:rPr lang="en-AU" dirty="0" smtClean="0"/>
              <a:t>Thursday 30 May 2019</a:t>
            </a:r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368000" y="5593500"/>
            <a:ext cx="760500" cy="296664"/>
          </a:xfrm>
        </p:spPr>
        <p:txBody>
          <a:bodyPr/>
          <a:lstStyle/>
          <a:p>
            <a:pPr defTabSz="371453"/>
            <a:r>
              <a:rPr lang="en-US">
                <a:solidFill>
                  <a:srgbClr val="19233E"/>
                </a:solidFill>
              </a:rPr>
              <a:t>Page </a:t>
            </a:r>
            <a:fld id="{9B9BA90C-EAA5-9446-B68C-B7124104B36D}" type="slidenum">
              <a:rPr lang="en-US">
                <a:solidFill>
                  <a:srgbClr val="19233E"/>
                </a:solidFill>
              </a:rPr>
              <a:pPr defTabSz="371453"/>
              <a:t>5</a:t>
            </a:fld>
            <a:endParaRPr lang="en-US" dirty="0">
              <a:solidFill>
                <a:srgbClr val="19233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4116" y="1792102"/>
            <a:ext cx="3561516" cy="3274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436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632115"/>
              </p:ext>
            </p:ext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28984" cy="1289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2925" b="1" dirty="0" err="1">
              <a:solidFill>
                <a:srgbClr val="FFFFFF"/>
              </a:solidFill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29711" y="1795810"/>
            <a:ext cx="5058953" cy="3904340"/>
          </a:xfrm>
          <a:noFill/>
          <a:ln w="9525">
            <a:noFill/>
          </a:ln>
        </p:spPr>
        <p:txBody>
          <a:bodyPr vert="horz" lIns="58500" tIns="58500" rIns="58500" bIns="58500" numCol="1" rtlCol="0" anchor="ctr">
            <a:noAutofit/>
          </a:bodyPr>
          <a:lstStyle/>
          <a:p>
            <a:pPr marL="292500">
              <a:lnSpc>
                <a:spcPct val="110000"/>
              </a:lnSpc>
            </a:pPr>
            <a:r>
              <a:rPr lang="en-AU" dirty="0">
                <a:solidFill>
                  <a:srgbClr val="19233E"/>
                </a:solidFill>
                <a:latin typeface="+mn-lt"/>
              </a:rPr>
              <a:t>h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uman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c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apital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m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anagement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, or HCM, is an industry term that refers to people management systems and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practices. </a:t>
            </a:r>
          </a:p>
          <a:p>
            <a:pPr marL="292500">
              <a:lnSpc>
                <a:spcPct val="110000"/>
              </a:lnSpc>
              <a:spcAft>
                <a:spcPts val="488"/>
              </a:spcAft>
            </a:pPr>
            <a:r>
              <a:rPr lang="en-AU" spc="-24" dirty="0">
                <a:solidFill>
                  <a:srgbClr val="19233E"/>
                </a:solidFill>
                <a:latin typeface="+mn-lt"/>
              </a:rPr>
              <a:t>our HCM functions cover a wide range of services, including:</a:t>
            </a:r>
          </a:p>
          <a:p>
            <a:pPr marL="731250" lvl="2" indent="-232172">
              <a:lnSpc>
                <a:spcPct val="114000"/>
              </a:lnSpc>
              <a:spcAft>
                <a:spcPts val="0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workforce planning </a:t>
            </a:r>
          </a:p>
          <a:p>
            <a:pPr marL="731250" lvl="2" indent="-232172">
              <a:lnSpc>
                <a:spcPct val="114000"/>
              </a:lnSpc>
              <a:spcAft>
                <a:spcPts val="0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position and organisation management </a:t>
            </a:r>
          </a:p>
          <a:p>
            <a:pPr marL="731250" lvl="2" indent="-232172">
              <a:lnSpc>
                <a:spcPct val="114000"/>
              </a:lnSpc>
              <a:spcAft>
                <a:spcPts val="0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recruitment</a:t>
            </a:r>
          </a:p>
          <a:p>
            <a:pPr marL="731250" lvl="2" indent="-232172">
              <a:lnSpc>
                <a:spcPct val="114000"/>
              </a:lnSpc>
              <a:spcAft>
                <a:spcPts val="0"/>
              </a:spcAft>
            </a:pPr>
            <a:r>
              <a:rPr lang="en-AU" sz="1138" spc="-16" dirty="0" err="1">
                <a:solidFill>
                  <a:srgbClr val="19233E"/>
                </a:solidFill>
                <a:latin typeface="+mn-lt"/>
              </a:rPr>
              <a:t>onboarding</a:t>
            </a:r>
            <a:endParaRPr lang="en-AU" sz="1138" spc="-16" dirty="0">
              <a:solidFill>
                <a:srgbClr val="19233E"/>
              </a:solidFill>
              <a:latin typeface="+mn-lt"/>
            </a:endParaRPr>
          </a:p>
          <a:p>
            <a:pPr marL="292500">
              <a:lnSpc>
                <a:spcPct val="110000"/>
              </a:lnSpc>
              <a:spcBef>
                <a:spcPts val="650"/>
              </a:spcBef>
            </a:pPr>
            <a:r>
              <a:rPr lang="en-AU" spc="-24" dirty="0">
                <a:solidFill>
                  <a:srgbClr val="19233E"/>
                </a:solidFill>
                <a:latin typeface="+mn-lt"/>
              </a:rPr>
              <a:t>the</a:t>
            </a:r>
            <a:r>
              <a:rPr lang="en-AU" b="1" spc="-24" dirty="0">
                <a:solidFill>
                  <a:srgbClr val="19233E"/>
                </a:solidFill>
                <a:latin typeface="+mj-lt"/>
              </a:rPr>
              <a:t> HCM Program </a:t>
            </a:r>
            <a:r>
              <a:rPr lang="en-AU" spc="-24" dirty="0">
                <a:solidFill>
                  <a:srgbClr val="19233E"/>
                </a:solidFill>
                <a:latin typeface="+mn-lt"/>
              </a:rPr>
              <a:t>was established to build on the department’s investment in a new payroll system (2016-2018) and transform some of our most important HR functions. </a:t>
            </a:r>
          </a:p>
          <a:p>
            <a:pPr marL="292500">
              <a:lnSpc>
                <a:spcPct val="110000"/>
              </a:lnSpc>
              <a:spcBef>
                <a:spcPts val="650"/>
              </a:spcBef>
            </a:pPr>
            <a:r>
              <a:rPr lang="en-AU" spc="-24" dirty="0">
                <a:solidFill>
                  <a:srgbClr val="19233E"/>
                </a:solidFill>
                <a:latin typeface="+mn-lt"/>
              </a:rPr>
              <a:t>this will drive achievement of our strategic obje</a:t>
            </a:r>
            <a:r>
              <a:rPr lang="en-AU" spc="-24" dirty="0">
                <a:solidFill>
                  <a:srgbClr val="19233E"/>
                </a:solidFill>
                <a:latin typeface="+mj-lt"/>
              </a:rPr>
              <a:t>ctives of:</a:t>
            </a:r>
          </a:p>
          <a:p>
            <a:pPr marL="731250" lvl="2" indent="-232172">
              <a:lnSpc>
                <a:spcPct val="114000"/>
              </a:lnSpc>
              <a:spcAft>
                <a:spcPts val="0"/>
              </a:spcAft>
            </a:pPr>
            <a:r>
              <a:rPr lang="en-AU" sz="1138" spc="-16" dirty="0">
                <a:solidFill>
                  <a:srgbClr val="19233E"/>
                </a:solidFill>
                <a:latin typeface="+mj-lt"/>
              </a:rPr>
              <a:t> </a:t>
            </a:r>
            <a:r>
              <a:rPr lang="en-AU" sz="1138" spc="-16" dirty="0">
                <a:solidFill>
                  <a:srgbClr val="19233E"/>
                </a:solidFill>
                <a:latin typeface="+mn-lt"/>
              </a:rPr>
              <a:t>reducing the administrative burden </a:t>
            </a:r>
          </a:p>
          <a:p>
            <a:pPr marL="731250" lvl="2" indent="-232172">
              <a:lnSpc>
                <a:spcPct val="114000"/>
              </a:lnSpc>
              <a:spcAft>
                <a:spcPts val="0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improving systems support to schools</a:t>
            </a:r>
          </a:p>
          <a:p>
            <a:pPr marL="292500">
              <a:lnSpc>
                <a:spcPct val="110000"/>
              </a:lnSpc>
              <a:spcBef>
                <a:spcPts val="650"/>
              </a:spcBef>
            </a:pPr>
            <a:r>
              <a:rPr lang="en-AU" dirty="0">
                <a:solidFill>
                  <a:srgbClr val="19233E"/>
                </a:solidFill>
                <a:latin typeface="+mn-lt"/>
              </a:rPr>
              <a:t>w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here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systems need replacement, we will develop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solutions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based on </a:t>
            </a:r>
            <a:r>
              <a:rPr lang="en-AU" b="1" dirty="0" smtClean="0">
                <a:solidFill>
                  <a:srgbClr val="19233E"/>
                </a:solidFill>
                <a:latin typeface="+mj-lt"/>
              </a:rPr>
              <a:t>SAP</a:t>
            </a:r>
            <a:r>
              <a:rPr lang="en-AU" dirty="0" smtClean="0">
                <a:solidFill>
                  <a:srgbClr val="19233E"/>
                </a:solidFill>
                <a:latin typeface="+mj-lt"/>
              </a:rPr>
              <a:t> </a:t>
            </a:r>
            <a:r>
              <a:rPr lang="en-AU" b="1" dirty="0" smtClean="0">
                <a:solidFill>
                  <a:srgbClr val="19233E"/>
                </a:solidFill>
                <a:latin typeface="+mj-lt"/>
              </a:rPr>
              <a:t>SuccessFactors,</a:t>
            </a:r>
            <a:r>
              <a:rPr lang="en-AU" dirty="0" smtClean="0">
                <a:solidFill>
                  <a:srgbClr val="19233E"/>
                </a:solidFill>
                <a:latin typeface="+mj-lt"/>
              </a:rPr>
              <a:t>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enhanced by other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/>
            </a:r>
            <a:br>
              <a:rPr lang="en-AU" dirty="0" smtClean="0">
                <a:solidFill>
                  <a:srgbClr val="19233E"/>
                </a:solidFill>
                <a:latin typeface="+mn-lt"/>
              </a:rPr>
            </a:br>
            <a:r>
              <a:rPr lang="en-AU" dirty="0" smtClean="0">
                <a:solidFill>
                  <a:srgbClr val="19233E"/>
                </a:solidFill>
                <a:latin typeface="+mn-lt"/>
              </a:rPr>
              <a:t>fit-for-purpose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solutions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as required. </a:t>
            </a:r>
          </a:p>
          <a:p>
            <a:pPr marL="292500">
              <a:lnSpc>
                <a:spcPct val="110000"/>
              </a:lnSpc>
            </a:pPr>
            <a:r>
              <a:rPr lang="en-AU" dirty="0">
                <a:solidFill>
                  <a:srgbClr val="19233E"/>
                </a:solidFill>
                <a:latin typeface="+mn-lt"/>
              </a:rPr>
              <a:t>t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his will allow us to </a:t>
            </a:r>
            <a:r>
              <a:rPr lang="en-AU" dirty="0">
                <a:solidFill>
                  <a:srgbClr val="19233E"/>
                </a:solidFill>
                <a:latin typeface="+mn-lt"/>
              </a:rPr>
              <a:t>leverage 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very attractive licensing discounts negotiated with SAP on a whole-of-government basis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284725" y="1570749"/>
            <a:ext cx="9301883" cy="22506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accent5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0" indent="0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215999" indent="-107999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Monaco" pitchFamily="2" charset="77"/>
              <a:buChar char="⎼"/>
              <a:defRPr sz="1200" kern="120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3pPr>
            <a:lvl4pPr marL="323999" indent="-107999" algn="l" defTabSz="685798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»"/>
              <a:defRPr sz="12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431999" indent="-107999" algn="l" defTabSz="6857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75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1885943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2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1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0" indent="-171449" algn="l" defTabSz="68579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11">
              <a:spcAft>
                <a:spcPts val="488"/>
              </a:spcAft>
            </a:pPr>
            <a:endParaRPr lang="en-AU" sz="1463" b="1" dirty="0">
              <a:solidFill>
                <a:srgbClr val="1D428A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56935" y="5756306"/>
            <a:ext cx="760500" cy="296664"/>
          </a:xfrm>
        </p:spPr>
        <p:txBody>
          <a:bodyPr/>
          <a:lstStyle/>
          <a:p>
            <a:pPr defTabSz="371453"/>
            <a:r>
              <a:rPr lang="en-US" dirty="0">
                <a:solidFill>
                  <a:srgbClr val="19233E"/>
                </a:solidFill>
              </a:rPr>
              <a:t>Page 2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>
                <a:solidFill>
                  <a:srgbClr val="19233E"/>
                </a:solidFill>
              </a:rPr>
              <a:t>What is </a:t>
            </a:r>
            <a:r>
              <a:rPr lang="en-AU" dirty="0">
                <a:solidFill>
                  <a:srgbClr val="19233E"/>
                </a:solidFill>
              </a:rPr>
              <a:t>h</a:t>
            </a:r>
            <a:r>
              <a:rPr lang="en-AU" dirty="0" smtClean="0">
                <a:solidFill>
                  <a:srgbClr val="19233E"/>
                </a:solidFill>
              </a:rPr>
              <a:t>uman </a:t>
            </a:r>
            <a:r>
              <a:rPr lang="en-AU" dirty="0">
                <a:solidFill>
                  <a:srgbClr val="19233E"/>
                </a:solidFill>
              </a:rPr>
              <a:t>c</a:t>
            </a:r>
            <a:r>
              <a:rPr lang="en-AU" dirty="0" smtClean="0">
                <a:solidFill>
                  <a:srgbClr val="19233E"/>
                </a:solidFill>
              </a:rPr>
              <a:t>apital </a:t>
            </a:r>
            <a:r>
              <a:rPr lang="en-AU" dirty="0">
                <a:solidFill>
                  <a:srgbClr val="19233E"/>
                </a:solidFill>
              </a:rPr>
              <a:t>m</a:t>
            </a:r>
            <a:r>
              <a:rPr lang="en-AU" dirty="0" smtClean="0">
                <a:solidFill>
                  <a:srgbClr val="19233E"/>
                </a:solidFill>
              </a:rPr>
              <a:t>anagement</a:t>
            </a:r>
            <a:r>
              <a:rPr lang="en-AU" dirty="0">
                <a:solidFill>
                  <a:srgbClr val="19233E"/>
                </a:solidFill>
              </a:rPr>
              <a:t>?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14" y="3288615"/>
            <a:ext cx="174387" cy="174387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14" y="1719243"/>
            <a:ext cx="174387" cy="174387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14" y="2182403"/>
            <a:ext cx="174387" cy="17438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14" y="4035834"/>
            <a:ext cx="174387" cy="17438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14" y="4787025"/>
            <a:ext cx="174387" cy="17438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14" y="5446496"/>
            <a:ext cx="174387" cy="17438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756869" y="2401064"/>
            <a:ext cx="3785365" cy="2532751"/>
          </a:xfrm>
          <a:prstGeom prst="rect">
            <a:avLst/>
          </a:prstGeom>
          <a:solidFill>
            <a:srgbClr val="F3E0E1"/>
          </a:solidFill>
        </p:spPr>
        <p:txBody>
          <a:bodyPr wrap="square" lIns="58500" tIns="58500" rIns="58500" bIns="58500" rtlCol="0">
            <a:noAutofit/>
          </a:bodyPr>
          <a:lstStyle/>
          <a:p>
            <a:pPr defTabSz="742929">
              <a:lnSpc>
                <a:spcPct val="110000"/>
              </a:lnSpc>
              <a:spcAft>
                <a:spcPts val="488"/>
              </a:spcAft>
            </a:pPr>
            <a:r>
              <a:rPr lang="en-AU" sz="1463" b="1" dirty="0">
                <a:solidFill>
                  <a:srgbClr val="19233E"/>
                </a:solidFill>
                <a:latin typeface="Montserrat"/>
              </a:rPr>
              <a:t>The story so far …</a:t>
            </a:r>
          </a:p>
          <a:p>
            <a:pPr defTabSz="742929">
              <a:lnSpc>
                <a:spcPct val="110000"/>
              </a:lnSpc>
              <a:spcAft>
                <a:spcPts val="488"/>
              </a:spcAft>
            </a:pPr>
            <a:r>
              <a:rPr lang="en-AU" sz="1138" dirty="0">
                <a:solidFill>
                  <a:srgbClr val="19233E"/>
                </a:solidFill>
                <a:latin typeface="Montserrat Medium"/>
              </a:rPr>
              <a:t>In our discovery phase (through to June 2019), </a:t>
            </a:r>
            <a:br>
              <a:rPr lang="en-AU" sz="1138" dirty="0">
                <a:solidFill>
                  <a:srgbClr val="19233E"/>
                </a:solidFill>
                <a:latin typeface="Montserrat Medium"/>
              </a:rPr>
            </a:br>
            <a:r>
              <a:rPr lang="en-AU" sz="1138" dirty="0">
                <a:solidFill>
                  <a:srgbClr val="19233E"/>
                </a:solidFill>
                <a:latin typeface="Montserrat Medium"/>
              </a:rPr>
              <a:t>we have been:</a:t>
            </a:r>
          </a:p>
          <a:p>
            <a:pPr marL="359796" lvl="1" indent="-232172" defTabSz="742929">
              <a:lnSpc>
                <a:spcPct val="114000"/>
              </a:lnSpc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investigating the what, why and how of our HCM service delivery, and where we can improve</a:t>
            </a:r>
          </a:p>
          <a:p>
            <a:pPr marL="359796" lvl="1" indent="-232172" defTabSz="742929">
              <a:lnSpc>
                <a:spcPct val="114000"/>
              </a:lnSpc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planning for design of a new customer experience</a:t>
            </a:r>
          </a:p>
          <a:p>
            <a:pPr marL="359796" lvl="1" indent="-232172" defTabSz="742929">
              <a:lnSpc>
                <a:spcPct val="114000"/>
              </a:lnSpc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planning the next phase to ensure </a:t>
            </a:r>
            <a:r>
              <a:rPr lang="en-AU" sz="1138" spc="-16" dirty="0">
                <a:solidFill>
                  <a:srgbClr val="19233E"/>
                </a:solidFill>
                <a:latin typeface="Montserrat"/>
              </a:rPr>
              <a:t/>
            </a:r>
            <a:br>
              <a:rPr lang="en-AU" sz="1138" spc="-16" dirty="0">
                <a:solidFill>
                  <a:srgbClr val="19233E"/>
                </a:solidFill>
                <a:latin typeface="Montserrat"/>
              </a:rPr>
            </a:br>
            <a:r>
              <a:rPr lang="en-AU" sz="1138" b="1" spc="-16" dirty="0">
                <a:solidFill>
                  <a:srgbClr val="19233E"/>
                </a:solidFill>
                <a:latin typeface="Montserrat"/>
              </a:rPr>
              <a:t>no change impact for schools </a:t>
            </a:r>
            <a:br>
              <a:rPr lang="en-AU" sz="1138" b="1" spc="-16" dirty="0">
                <a:solidFill>
                  <a:srgbClr val="19233E"/>
                </a:solidFill>
                <a:latin typeface="Montserrat"/>
              </a:rPr>
            </a:br>
            <a:r>
              <a:rPr lang="en-AU" sz="1138" b="1" spc="-16" dirty="0">
                <a:solidFill>
                  <a:srgbClr val="19233E"/>
                </a:solidFill>
                <a:latin typeface="Montserrat"/>
              </a:rPr>
              <a:t>until late 2020</a:t>
            </a:r>
          </a:p>
        </p:txBody>
      </p:sp>
    </p:spTree>
    <p:extLst>
      <p:ext uri="{BB962C8B-B14F-4D97-AF65-F5344CB8AC3E}">
        <p14:creationId xmlns:p14="http://schemas.microsoft.com/office/powerpoint/2010/main" val="15837746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213680"/>
              </p:ext>
            </p:ext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28984" cy="1289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7145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AU" sz="2925" b="1" dirty="0" err="1">
              <a:solidFill>
                <a:srgbClr val="FFFFFF"/>
              </a:solidFill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he case for change</a:t>
            </a:r>
            <a:endParaRPr lang="en-AU" dirty="0"/>
          </a:p>
        </p:txBody>
      </p:sp>
      <p:sp>
        <p:nvSpPr>
          <p:cNvPr id="13" name="TextBox 12"/>
          <p:cNvSpPr txBox="1"/>
          <p:nvPr/>
        </p:nvSpPr>
        <p:spPr>
          <a:xfrm>
            <a:off x="649744" y="2000980"/>
            <a:ext cx="8832451" cy="3862344"/>
          </a:xfrm>
          <a:prstGeom prst="rect">
            <a:avLst/>
          </a:prstGeom>
          <a:noFill/>
        </p:spPr>
        <p:txBody>
          <a:bodyPr wrap="square" lIns="0" tIns="0" rIns="0" bIns="0" numCol="2" spcCol="360000" rtlCol="0">
            <a:noAutofit/>
          </a:bodyPr>
          <a:lstStyle/>
          <a:p>
            <a:pPr defTabSz="371453">
              <a:lnSpc>
                <a:spcPct val="114000"/>
              </a:lnSpc>
              <a:spcBef>
                <a:spcPts val="975"/>
              </a:spcBef>
            </a:pPr>
            <a:r>
              <a:rPr lang="en-AU" sz="1300" spc="-16" dirty="0">
                <a:solidFill>
                  <a:srgbClr val="19233E"/>
                </a:solidFill>
                <a:latin typeface="Montserrat Medium"/>
              </a:rPr>
              <a:t>our practices are complex, highly manual and require the support of a large number of systems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488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0% automation in teacher recruitment 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163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1% across the board compared to 33% industry benchmark</a:t>
            </a:r>
          </a:p>
          <a:p>
            <a:pPr defTabSz="371453">
              <a:lnSpc>
                <a:spcPct val="114000"/>
              </a:lnSpc>
              <a:spcBef>
                <a:spcPts val="488"/>
              </a:spcBef>
            </a:pPr>
            <a:r>
              <a:rPr lang="en-AU" sz="1300" spc="-16" dirty="0">
                <a:solidFill>
                  <a:srgbClr val="19233E"/>
                </a:solidFill>
                <a:latin typeface="Montserrat Medium"/>
              </a:rPr>
              <a:t>processes are governed by outdated and </a:t>
            </a:r>
            <a:br>
              <a:rPr lang="en-AU" sz="1300" spc="-16" dirty="0">
                <a:solidFill>
                  <a:srgbClr val="19233E"/>
                </a:solidFill>
                <a:latin typeface="Montserrat Medium"/>
              </a:rPr>
            </a:br>
            <a:r>
              <a:rPr lang="en-AU" sz="1300" spc="-16" dirty="0">
                <a:solidFill>
                  <a:srgbClr val="19233E"/>
                </a:solidFill>
                <a:latin typeface="Montserrat Medium"/>
              </a:rPr>
              <a:t>onerous business rules and manual checks 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488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37 legislative, 162 policy, 102 custom &amp; practice</a:t>
            </a:r>
          </a:p>
          <a:p>
            <a:pPr defTabSz="371453">
              <a:lnSpc>
                <a:spcPct val="114000"/>
              </a:lnSpc>
              <a:spcBef>
                <a:spcPts val="488"/>
              </a:spcBef>
            </a:pPr>
            <a:r>
              <a:rPr lang="en-AU" sz="1300" dirty="0">
                <a:solidFill>
                  <a:srgbClr val="19233E"/>
                </a:solidFill>
                <a:latin typeface="Montserrat Medium"/>
              </a:rPr>
              <a:t>processes have too many steps from start to finish 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488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77 steps for teacher recruitment alone 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163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poor visibility of status and progress once </a:t>
            </a:r>
            <a:br>
              <a:rPr lang="en-AU" sz="1138" spc="-16" dirty="0">
                <a:solidFill>
                  <a:srgbClr val="19233E"/>
                </a:solidFill>
                <a:latin typeface="Montserrat Medium"/>
              </a:rPr>
            </a:b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a service request is initiated</a:t>
            </a:r>
          </a:p>
          <a:p>
            <a:pPr defTabSz="371453">
              <a:lnSpc>
                <a:spcPct val="114000"/>
              </a:lnSpc>
              <a:spcBef>
                <a:spcPts val="488"/>
              </a:spcBef>
            </a:pPr>
            <a:r>
              <a:rPr lang="en-AU" sz="1300" dirty="0">
                <a:solidFill>
                  <a:srgbClr val="19233E"/>
                </a:solidFill>
                <a:latin typeface="Montserrat Medium"/>
              </a:rPr>
              <a:t>planning our school workforce is difficult and slow 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488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"/>
              </a:rPr>
              <a:t>budgets and staffing allocations are often delayed </a:t>
            </a:r>
            <a:br>
              <a:rPr lang="en-AU" sz="1138" spc="-16" dirty="0">
                <a:solidFill>
                  <a:srgbClr val="19233E"/>
                </a:solidFill>
                <a:latin typeface="Montserrat"/>
              </a:rPr>
            </a:br>
            <a:r>
              <a:rPr lang="en-AU" sz="1138" spc="-16" dirty="0">
                <a:solidFill>
                  <a:srgbClr val="19233E"/>
                </a:solidFill>
                <a:latin typeface="Montserrat"/>
              </a:rPr>
              <a:t>well beyond the start of the school year</a:t>
            </a:r>
          </a:p>
          <a:p>
            <a:pPr defTabSz="371453">
              <a:lnSpc>
                <a:spcPct val="114000"/>
              </a:lnSpc>
              <a:spcBef>
                <a:spcPts val="488"/>
              </a:spcBef>
            </a:pPr>
            <a:r>
              <a:rPr lang="en-AU" sz="1300" dirty="0">
                <a:solidFill>
                  <a:srgbClr val="19233E"/>
                </a:solidFill>
                <a:latin typeface="Montserrat Medium"/>
              </a:rPr>
              <a:t>recruitment takes far too long in a </a:t>
            </a:r>
            <a:br>
              <a:rPr lang="en-AU" sz="1300" dirty="0">
                <a:solidFill>
                  <a:srgbClr val="19233E"/>
                </a:solidFill>
                <a:latin typeface="Montserrat Medium"/>
              </a:rPr>
            </a:br>
            <a:r>
              <a:rPr lang="en-AU" sz="1300" dirty="0">
                <a:solidFill>
                  <a:srgbClr val="19233E"/>
                </a:solidFill>
                <a:latin typeface="Montserrat Medium"/>
              </a:rPr>
              <a:t>high-volume hiring environment 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488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average of 10 weeks required to hire a teacher </a:t>
            </a:r>
          </a:p>
          <a:p>
            <a:pPr marL="466165" lvl="2" indent="-232172" defTabSz="742929">
              <a:lnSpc>
                <a:spcPct val="114000"/>
              </a:lnSpc>
              <a:spcBef>
                <a:spcPts val="163"/>
              </a:spcBef>
              <a:spcAft>
                <a:spcPts val="163"/>
              </a:spcAft>
              <a:buFont typeface="Monaco" pitchFamily="2" charset="77"/>
              <a:buChar char="⎼"/>
            </a:pP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 a recent survey of 626 principals, school administration managers and corporate </a:t>
            </a:r>
            <a:br>
              <a:rPr lang="en-AU" sz="1138" spc="-16" dirty="0">
                <a:solidFill>
                  <a:srgbClr val="19233E"/>
                </a:solidFill>
                <a:latin typeface="Montserrat Medium"/>
              </a:rPr>
            </a:b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staff cited HR processes and systems </a:t>
            </a:r>
            <a:br>
              <a:rPr lang="en-AU" sz="1138" spc="-16" dirty="0">
                <a:solidFill>
                  <a:srgbClr val="19233E"/>
                </a:solidFill>
                <a:latin typeface="Montserrat Medium"/>
              </a:rPr>
            </a:br>
            <a:r>
              <a:rPr lang="en-AU" sz="1138" spc="-16" dirty="0">
                <a:solidFill>
                  <a:srgbClr val="19233E"/>
                </a:solidFill>
                <a:latin typeface="Montserrat Medium"/>
              </a:rPr>
              <a:t>as a major frustration</a:t>
            </a:r>
          </a:p>
          <a:p>
            <a:pPr defTabSz="371453">
              <a:spcBef>
                <a:spcPts val="975"/>
              </a:spcBef>
            </a:pPr>
            <a:endParaRPr lang="en-AU" sz="1463" dirty="0">
              <a:solidFill>
                <a:srgbClr val="000000"/>
              </a:solidFill>
              <a:latin typeface="Montserrat Medium"/>
            </a:endParaRPr>
          </a:p>
          <a:p>
            <a:pPr marL="232172" indent="-232172" defTabSz="371453">
              <a:spcBef>
                <a:spcPts val="975"/>
              </a:spcBef>
              <a:spcAft>
                <a:spcPts val="325"/>
              </a:spcAft>
              <a:buFont typeface="Arial" panose="020B0604020202020204" pitchFamily="34" charset="0"/>
              <a:buChar char="•"/>
            </a:pPr>
            <a:endParaRPr lang="en-AU" sz="1138" dirty="0">
              <a:solidFill>
                <a:srgbClr val="000000"/>
              </a:solidFill>
              <a:latin typeface="Montserrat Medium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256935" y="1616263"/>
            <a:ext cx="9301883" cy="225062"/>
          </a:xfrm>
          <a:prstGeom prst="rect">
            <a:avLst/>
          </a:prstGeom>
        </p:spPr>
        <p:txBody>
          <a:bodyPr/>
          <a:lstStyle/>
          <a:p>
            <a:r>
              <a:rPr lang="en-AU" sz="1300" b="1" dirty="0">
                <a:solidFill>
                  <a:srgbClr val="9D2235"/>
                </a:solidFill>
                <a:latin typeface="Montserrat SemiBold" panose="00000700000000000000" pitchFamily="2" charset="0"/>
              </a:rPr>
              <a:t>Today’s customer experience is below standard and insufficient to carry the department into the futu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383" y="2049964"/>
            <a:ext cx="175500" cy="1652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9" y="3242611"/>
            <a:ext cx="175500" cy="1755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680" y="4042613"/>
            <a:ext cx="175500" cy="1755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327" y="2014834"/>
            <a:ext cx="175500" cy="1755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9" y="5038600"/>
            <a:ext cx="175500" cy="17426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574597" y="3754581"/>
            <a:ext cx="3811451" cy="1803522"/>
          </a:xfrm>
          <a:prstGeom prst="rect">
            <a:avLst/>
          </a:prstGeom>
          <a:solidFill>
            <a:srgbClr val="F3E0E1"/>
          </a:solidFill>
        </p:spPr>
        <p:txBody>
          <a:bodyPr wrap="square" lIns="58500" tIns="58500" rIns="58500" bIns="58500" rtlCol="0">
            <a:noAutofit/>
          </a:bodyPr>
          <a:lstStyle/>
          <a:p>
            <a:pPr algn="ctr" defTabSz="371453">
              <a:lnSpc>
                <a:spcPct val="120000"/>
              </a:lnSpc>
              <a:spcBef>
                <a:spcPts val="975"/>
              </a:spcBef>
            </a:pPr>
            <a:r>
              <a:rPr lang="en-AU" sz="1300" i="1" dirty="0">
                <a:solidFill>
                  <a:srgbClr val="19233E"/>
                </a:solidFill>
                <a:latin typeface="Montserrat Medium"/>
              </a:rPr>
              <a:t>Even with the hard work of dedicated teams in our service delivery areas, these factors mean that we struggle to reach </a:t>
            </a:r>
            <a:br>
              <a:rPr lang="en-AU" sz="1300" i="1" dirty="0">
                <a:solidFill>
                  <a:srgbClr val="19233E"/>
                </a:solidFill>
                <a:latin typeface="Montserrat Medium"/>
              </a:rPr>
            </a:br>
            <a:r>
              <a:rPr lang="en-AU" sz="1300" i="1" dirty="0">
                <a:solidFill>
                  <a:srgbClr val="19233E"/>
                </a:solidFill>
                <a:latin typeface="Montserrat Medium"/>
              </a:rPr>
              <a:t>and sustain desired service standards.</a:t>
            </a:r>
          </a:p>
          <a:p>
            <a:pPr algn="ctr" defTabSz="371453">
              <a:lnSpc>
                <a:spcPct val="120000"/>
              </a:lnSpc>
              <a:spcBef>
                <a:spcPts val="975"/>
              </a:spcBef>
            </a:pPr>
            <a:r>
              <a:rPr lang="en-AU" sz="1300" i="1" dirty="0">
                <a:solidFill>
                  <a:srgbClr val="19233E"/>
                </a:solidFill>
                <a:latin typeface="Montserrat Medium"/>
              </a:rPr>
              <a:t>Together they make a strong case for </a:t>
            </a:r>
            <a:br>
              <a:rPr lang="en-AU" sz="1300" i="1" dirty="0">
                <a:solidFill>
                  <a:srgbClr val="19233E"/>
                </a:solidFill>
                <a:latin typeface="Montserrat Medium"/>
              </a:rPr>
            </a:br>
            <a:r>
              <a:rPr lang="en-AU" sz="1300" i="1" dirty="0">
                <a:solidFill>
                  <a:srgbClr val="19233E"/>
                </a:solidFill>
                <a:latin typeface="Montserrat Medium"/>
              </a:rPr>
              <a:t>broad-based business transformation.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196839" y="5834064"/>
            <a:ext cx="607223" cy="22321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71453">
              <a:defRPr/>
            </a:pPr>
            <a:r>
              <a:rPr lang="en-US" sz="975" dirty="0">
                <a:solidFill>
                  <a:srgbClr val="19233E"/>
                </a:solidFill>
              </a:rPr>
              <a:t>Page 3</a:t>
            </a:r>
          </a:p>
        </p:txBody>
      </p:sp>
    </p:spTree>
    <p:extLst>
      <p:ext uri="{BB962C8B-B14F-4D97-AF65-F5344CB8AC3E}">
        <p14:creationId xmlns:p14="http://schemas.microsoft.com/office/powerpoint/2010/main" val="12863319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What will the program deliver for schools?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56936" y="1591324"/>
            <a:ext cx="9396495" cy="225700"/>
          </a:xfrm>
        </p:spPr>
        <p:txBody>
          <a:bodyPr/>
          <a:lstStyle/>
          <a:p>
            <a:r>
              <a:rPr lang="en-AU" b="1" dirty="0" smtClean="0">
                <a:solidFill>
                  <a:srgbClr val="9D2235"/>
                </a:solidFill>
              </a:rPr>
              <a:t>Improved HCM services will benefit school budget and hiring managers </a:t>
            </a:r>
            <a:endParaRPr lang="en-AU" dirty="0">
              <a:solidFill>
                <a:srgbClr val="9D2235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256935" y="1976493"/>
            <a:ext cx="5247237" cy="3274889"/>
          </a:xfrm>
        </p:spPr>
        <p:txBody>
          <a:bodyPr/>
          <a:lstStyle/>
          <a:p>
            <a:r>
              <a:rPr lang="en-AU" dirty="0" smtClean="0">
                <a:solidFill>
                  <a:srgbClr val="19233E"/>
                </a:solidFill>
              </a:rPr>
              <a:t>Up to 13,000 hiring managers and 5,653 budget managers in schools </a:t>
            </a:r>
            <a:br>
              <a:rPr lang="en-AU" dirty="0" smtClean="0">
                <a:solidFill>
                  <a:srgbClr val="19233E"/>
                </a:solidFill>
              </a:rPr>
            </a:br>
            <a:r>
              <a:rPr lang="en-AU" dirty="0" smtClean="0">
                <a:solidFill>
                  <a:srgbClr val="19233E"/>
                </a:solidFill>
              </a:rPr>
              <a:t>will benefit from:</a:t>
            </a:r>
          </a:p>
          <a:p>
            <a:pPr marL="292500" lvl="1" indent="0">
              <a:spcBef>
                <a:spcPts val="488"/>
              </a:spcBef>
              <a:spcAft>
                <a:spcPts val="488"/>
              </a:spcAft>
              <a:buNone/>
            </a:pPr>
            <a:r>
              <a:rPr lang="en-AU" dirty="0"/>
              <a:t>a</a:t>
            </a:r>
            <a:r>
              <a:rPr lang="en-AU" dirty="0" smtClean="0"/>
              <a:t> single, integrated view </a:t>
            </a:r>
            <a:r>
              <a:rPr lang="en-AU" dirty="0"/>
              <a:t>of </a:t>
            </a:r>
            <a:r>
              <a:rPr lang="en-AU" dirty="0" smtClean="0"/>
              <a:t>the schools workforce, offering budget allocations, position entitlements </a:t>
            </a:r>
            <a:r>
              <a:rPr lang="en-AU" dirty="0"/>
              <a:t>and </a:t>
            </a:r>
            <a:r>
              <a:rPr lang="en-AU" dirty="0" smtClean="0"/>
              <a:t>vacancies in one location </a:t>
            </a:r>
          </a:p>
          <a:p>
            <a:pPr marL="292500" lvl="1" indent="0">
              <a:spcBef>
                <a:spcPts val="488"/>
              </a:spcBef>
              <a:spcAft>
                <a:spcPts val="488"/>
              </a:spcAft>
              <a:buNone/>
            </a:pPr>
            <a:r>
              <a:rPr lang="en-AU" dirty="0"/>
              <a:t>a</a:t>
            </a:r>
            <a:r>
              <a:rPr lang="en-AU" dirty="0" smtClean="0"/>
              <a:t> substantial </a:t>
            </a:r>
            <a:r>
              <a:rPr lang="en-AU" dirty="0"/>
              <a:t>(40</a:t>
            </a:r>
            <a:r>
              <a:rPr lang="en-AU" dirty="0" smtClean="0"/>
              <a:t>%) reduction </a:t>
            </a:r>
            <a:r>
              <a:rPr lang="en-AU" dirty="0"/>
              <a:t>in </a:t>
            </a:r>
            <a:r>
              <a:rPr lang="en-AU" dirty="0" smtClean="0"/>
              <a:t>recruitment times – down from the current average of 10 weeks for teacher recruitment</a:t>
            </a:r>
            <a:endParaRPr lang="en-AU" dirty="0"/>
          </a:p>
          <a:p>
            <a:pPr marL="292500" lvl="1" indent="0">
              <a:spcBef>
                <a:spcPts val="488"/>
              </a:spcBef>
              <a:spcAft>
                <a:spcPts val="488"/>
              </a:spcAft>
              <a:buNone/>
            </a:pPr>
            <a:r>
              <a:rPr lang="en-AU" dirty="0"/>
              <a:t>e</a:t>
            </a:r>
            <a:r>
              <a:rPr lang="en-AU" dirty="0" smtClean="0"/>
              <a:t>asy tracking of recruitment </a:t>
            </a:r>
            <a:r>
              <a:rPr lang="en-AU" dirty="0"/>
              <a:t>requests </a:t>
            </a:r>
            <a:r>
              <a:rPr lang="en-AU" dirty="0" smtClean="0"/>
              <a:t>each </a:t>
            </a:r>
            <a:r>
              <a:rPr lang="en-AU" dirty="0"/>
              <a:t>step of the </a:t>
            </a:r>
            <a:r>
              <a:rPr lang="en-AU" dirty="0" smtClean="0"/>
              <a:t>way</a:t>
            </a:r>
          </a:p>
          <a:p>
            <a:pPr marL="292500" lvl="1" indent="0">
              <a:spcBef>
                <a:spcPts val="488"/>
              </a:spcBef>
              <a:spcAft>
                <a:spcPts val="488"/>
              </a:spcAft>
              <a:buNone/>
            </a:pPr>
            <a:r>
              <a:rPr lang="en-AU" dirty="0"/>
              <a:t>b</a:t>
            </a:r>
            <a:r>
              <a:rPr lang="en-AU" dirty="0" smtClean="0"/>
              <a:t>etter </a:t>
            </a:r>
            <a:r>
              <a:rPr lang="en-AU" dirty="0"/>
              <a:t>access to </a:t>
            </a:r>
            <a:r>
              <a:rPr lang="en-AU" dirty="0" smtClean="0"/>
              <a:t>pools of </a:t>
            </a:r>
            <a:r>
              <a:rPr lang="en-AU" dirty="0"/>
              <a:t>qualified candidates suited to </a:t>
            </a:r>
            <a:r>
              <a:rPr lang="en-AU" dirty="0" smtClean="0"/>
              <a:t>specific </a:t>
            </a:r>
            <a:r>
              <a:rPr lang="en-AU" dirty="0"/>
              <a:t>needs (for instance, </a:t>
            </a:r>
            <a:r>
              <a:rPr lang="en-AU" dirty="0" smtClean="0"/>
              <a:t>outstanding </a:t>
            </a:r>
            <a:r>
              <a:rPr lang="en-AU" dirty="0"/>
              <a:t>secondary </a:t>
            </a:r>
            <a:r>
              <a:rPr lang="en-AU" dirty="0" smtClean="0"/>
              <a:t>maths teachers)</a:t>
            </a:r>
          </a:p>
          <a:p>
            <a:pPr marL="292500" lvl="1" indent="0">
              <a:spcBef>
                <a:spcPts val="488"/>
              </a:spcBef>
              <a:spcAft>
                <a:spcPts val="488"/>
              </a:spcAft>
              <a:buNone/>
            </a:pPr>
            <a:r>
              <a:rPr lang="en-AU" dirty="0"/>
              <a:t>a</a:t>
            </a:r>
            <a:r>
              <a:rPr lang="en-AU" dirty="0" smtClean="0"/>
              <a:t> </a:t>
            </a:r>
            <a:r>
              <a:rPr lang="en-AU" dirty="0"/>
              <a:t>tool that matches vacancies with schools’ forecasted needs based on required skills and capabilities and demographic drivers</a:t>
            </a:r>
          </a:p>
          <a:p>
            <a:pPr marL="292500" lvl="1" indent="0">
              <a:spcBef>
                <a:spcPts val="488"/>
              </a:spcBef>
              <a:spcAft>
                <a:spcPts val="488"/>
              </a:spcAft>
              <a:buNone/>
            </a:pPr>
            <a:r>
              <a:rPr lang="en-AU" dirty="0"/>
              <a:t>v</a:t>
            </a:r>
            <a:r>
              <a:rPr lang="en-AU" dirty="0" smtClean="0"/>
              <a:t>isibility of vacancies for hiring managers and </a:t>
            </a:r>
            <a:r>
              <a:rPr lang="en-AU" dirty="0"/>
              <a:t>candidates </a:t>
            </a:r>
            <a:endParaRPr lang="en-AU" dirty="0" smtClean="0"/>
          </a:p>
          <a:p>
            <a:pPr marL="292500" lvl="1" indent="0">
              <a:spcBef>
                <a:spcPts val="488"/>
              </a:spcBef>
              <a:spcAft>
                <a:spcPts val="488"/>
              </a:spcAft>
              <a:buNone/>
            </a:pPr>
            <a:r>
              <a:rPr lang="en-AU" dirty="0"/>
              <a:t>m</a:t>
            </a:r>
            <a:r>
              <a:rPr lang="en-AU" dirty="0" smtClean="0"/>
              <a:t>uch less </a:t>
            </a:r>
            <a:r>
              <a:rPr lang="en-AU" dirty="0"/>
              <a:t>paperwork and duplication of </a:t>
            </a:r>
            <a:r>
              <a:rPr lang="en-AU" dirty="0" smtClean="0"/>
              <a:t>processes</a:t>
            </a:r>
            <a:endParaRPr lang="en-AU" dirty="0"/>
          </a:p>
          <a:p>
            <a:endParaRPr lang="en-AU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172" y="2171403"/>
            <a:ext cx="3826923" cy="2870192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13" y="2576367"/>
            <a:ext cx="175500" cy="1652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13" y="3096001"/>
            <a:ext cx="175500" cy="1652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13" y="5399588"/>
            <a:ext cx="175500" cy="16525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13" y="3634522"/>
            <a:ext cx="175500" cy="16525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13" y="3982047"/>
            <a:ext cx="175500" cy="1652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13" y="4534087"/>
            <a:ext cx="175500" cy="1652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13" y="5049465"/>
            <a:ext cx="175500" cy="165255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196839" y="5834064"/>
            <a:ext cx="607223" cy="22321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71453">
              <a:defRPr/>
            </a:pPr>
            <a:r>
              <a:rPr lang="en-US" sz="975" dirty="0">
                <a:solidFill>
                  <a:srgbClr val="19233E"/>
                </a:solidFill>
              </a:rPr>
              <a:t>Page 4</a:t>
            </a:r>
          </a:p>
        </p:txBody>
      </p:sp>
    </p:spTree>
    <p:extLst>
      <p:ext uri="{BB962C8B-B14F-4D97-AF65-F5344CB8AC3E}">
        <p14:creationId xmlns:p14="http://schemas.microsoft.com/office/powerpoint/2010/main" val="3930616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What will be implemented?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56935" y="1598085"/>
            <a:ext cx="9614860" cy="805768"/>
          </a:xfrm>
        </p:spPr>
        <p:txBody>
          <a:bodyPr/>
          <a:lstStyle/>
          <a:p>
            <a:r>
              <a:rPr lang="en-AU" sz="1300" spc="-24" dirty="0">
                <a:solidFill>
                  <a:srgbClr val="9D2235"/>
                </a:solidFill>
              </a:rPr>
              <a:t>In partnership with our service delivery providers (HR, EDConnect, Finance, IT Directorate), </a:t>
            </a:r>
            <a:br>
              <a:rPr lang="en-AU" sz="1300" spc="-24" dirty="0">
                <a:solidFill>
                  <a:srgbClr val="9D2235"/>
                </a:solidFill>
              </a:rPr>
            </a:br>
            <a:r>
              <a:rPr lang="en-AU" sz="1300" spc="-24" dirty="0">
                <a:solidFill>
                  <a:srgbClr val="9D2235"/>
                </a:solidFill>
              </a:rPr>
              <a:t>the program will deliver process &amp; technology solutions to drive effective business transform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609939" y="2361233"/>
            <a:ext cx="5524588" cy="3274889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AU" b="1" dirty="0" smtClean="0">
                <a:solidFill>
                  <a:srgbClr val="19233E"/>
                </a:solidFill>
                <a:latin typeface="+mn-lt"/>
              </a:rPr>
              <a:t>Transformed </a:t>
            </a:r>
            <a:r>
              <a:rPr lang="en-AU" b="1" dirty="0">
                <a:solidFill>
                  <a:srgbClr val="19233E"/>
                </a:solidFill>
                <a:latin typeface="+mn-lt"/>
              </a:rPr>
              <a:t>services and </a:t>
            </a:r>
            <a:r>
              <a:rPr lang="en-AU" b="1" dirty="0" smtClean="0">
                <a:solidFill>
                  <a:srgbClr val="19233E"/>
                </a:solidFill>
                <a:latin typeface="+mn-lt"/>
              </a:rPr>
              <a:t>processes</a:t>
            </a:r>
            <a:endParaRPr lang="en-AU" dirty="0">
              <a:solidFill>
                <a:srgbClr val="19233E"/>
              </a:solidFill>
              <a:latin typeface="+mn-lt"/>
            </a:endParaRPr>
          </a:p>
          <a:p>
            <a:pPr marL="466165" lvl="2" indent="-232172">
              <a:spcBef>
                <a:spcPts val="163"/>
              </a:spcBef>
              <a:spcAft>
                <a:spcPts val="163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current processes will be transformed across </a:t>
            </a:r>
            <a:br>
              <a:rPr lang="en-AU" sz="1138" spc="-16" dirty="0">
                <a:solidFill>
                  <a:srgbClr val="19233E"/>
                </a:solidFill>
                <a:latin typeface="+mn-lt"/>
              </a:rPr>
            </a:br>
            <a:r>
              <a:rPr lang="en-AU" sz="1138" spc="-16" dirty="0">
                <a:solidFill>
                  <a:srgbClr val="19233E"/>
                </a:solidFill>
                <a:latin typeface="+mn-lt"/>
              </a:rPr>
              <a:t>all in-scope service groups </a:t>
            </a:r>
          </a:p>
          <a:p>
            <a:pPr marL="466165" lvl="2" indent="-232172">
              <a:spcBef>
                <a:spcPts val="163"/>
              </a:spcBef>
              <a:spcAft>
                <a:spcPts val="163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human-centred design will be used to develop a </a:t>
            </a:r>
            <a:br>
              <a:rPr lang="en-AU" sz="1138" spc="-16" dirty="0">
                <a:solidFill>
                  <a:srgbClr val="19233E"/>
                </a:solidFill>
                <a:latin typeface="+mn-lt"/>
              </a:rPr>
            </a:br>
            <a:r>
              <a:rPr lang="en-AU" sz="1138" spc="-16" dirty="0">
                <a:solidFill>
                  <a:srgbClr val="19233E"/>
                </a:solidFill>
                <a:latin typeface="+mn-lt"/>
              </a:rPr>
              <a:t>desirable, feasible and viable customer experience </a:t>
            </a:r>
          </a:p>
          <a:p>
            <a:pPr marL="466165" lvl="2" indent="-232172">
              <a:spcBef>
                <a:spcPts val="163"/>
              </a:spcBef>
              <a:spcAft>
                <a:spcPts val="163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4 principals embedded full-time in the design &amp; implementation team </a:t>
            </a:r>
          </a:p>
          <a:p>
            <a:pPr>
              <a:spcBef>
                <a:spcPts val="975"/>
              </a:spcBef>
              <a:spcAft>
                <a:spcPts val="0"/>
              </a:spcAft>
            </a:pPr>
            <a:r>
              <a:rPr lang="en-AU" b="1" dirty="0">
                <a:solidFill>
                  <a:srgbClr val="19233E"/>
                </a:solidFill>
                <a:latin typeface="+mn-lt"/>
              </a:rPr>
              <a:t>A new and optimised solution </a:t>
            </a:r>
            <a:r>
              <a:rPr lang="en-AU" b="1" dirty="0" smtClean="0">
                <a:solidFill>
                  <a:srgbClr val="19233E"/>
                </a:solidFill>
                <a:latin typeface="+mn-lt"/>
              </a:rPr>
              <a:t>architecture</a:t>
            </a:r>
            <a:endParaRPr lang="en-AU" dirty="0">
              <a:solidFill>
                <a:srgbClr val="19233E"/>
              </a:solidFill>
              <a:latin typeface="+mn-lt"/>
            </a:endParaRPr>
          </a:p>
          <a:p>
            <a:pPr marL="466165" lvl="2" indent="-232172">
              <a:spcBef>
                <a:spcPts val="163"/>
              </a:spcBef>
              <a:spcAft>
                <a:spcPts val="163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based on SAP SuccessFactors and other appropriate technologies,</a:t>
            </a:r>
          </a:p>
          <a:p>
            <a:pPr marL="466165" lvl="2" indent="-232172">
              <a:spcBef>
                <a:spcPts val="163"/>
              </a:spcBef>
              <a:spcAft>
                <a:spcPts val="163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will transform the current high-risk landscape of 44 legacy systems. </a:t>
            </a:r>
          </a:p>
          <a:p>
            <a:pPr marL="466165" lvl="2" indent="-232172">
              <a:spcBef>
                <a:spcPts val="163"/>
              </a:spcBef>
              <a:spcAft>
                <a:spcPts val="163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will involve replacement of 20 systems, re-engineering of </a:t>
            </a:r>
            <a:br>
              <a:rPr lang="en-AU" sz="1138" spc="-16" dirty="0">
                <a:solidFill>
                  <a:srgbClr val="19233E"/>
                </a:solidFill>
                <a:latin typeface="+mn-lt"/>
              </a:rPr>
            </a:br>
            <a:r>
              <a:rPr lang="en-AU" sz="1138" spc="-16" dirty="0">
                <a:solidFill>
                  <a:srgbClr val="19233E"/>
                </a:solidFill>
                <a:latin typeface="+mn-lt"/>
              </a:rPr>
              <a:t>14 systems, and retention of 10 systems</a:t>
            </a:r>
          </a:p>
          <a:p>
            <a:pPr>
              <a:spcBef>
                <a:spcPts val="975"/>
              </a:spcBef>
              <a:spcAft>
                <a:spcPts val="0"/>
              </a:spcAft>
            </a:pPr>
            <a:r>
              <a:rPr lang="en-AU" b="1" dirty="0">
                <a:solidFill>
                  <a:srgbClr val="19233E"/>
                </a:solidFill>
                <a:latin typeface="+mn-lt"/>
              </a:rPr>
              <a:t>A single source of truth for employee </a:t>
            </a:r>
            <a:r>
              <a:rPr lang="en-AU" b="1" dirty="0" smtClean="0">
                <a:solidFill>
                  <a:srgbClr val="19233E"/>
                </a:solidFill>
                <a:latin typeface="+mn-lt"/>
              </a:rPr>
              <a:t>data</a:t>
            </a:r>
            <a:r>
              <a:rPr lang="en-AU" dirty="0" smtClean="0">
                <a:solidFill>
                  <a:srgbClr val="19233E"/>
                </a:solidFill>
                <a:latin typeface="+mn-lt"/>
              </a:rPr>
              <a:t> </a:t>
            </a:r>
          </a:p>
          <a:p>
            <a:pPr marL="466165" lvl="2" indent="-232172">
              <a:spcBef>
                <a:spcPts val="163"/>
              </a:spcBef>
              <a:spcAft>
                <a:spcPts val="163"/>
              </a:spcAft>
            </a:pPr>
            <a:r>
              <a:rPr lang="en-AU" sz="1138" spc="-16" dirty="0">
                <a:solidFill>
                  <a:srgbClr val="19233E"/>
                </a:solidFill>
                <a:latin typeface="+mn-lt"/>
              </a:rPr>
              <a:t>building on and supporting our $95m investment in SAP HR/Payrol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34" y="2368818"/>
            <a:ext cx="175500" cy="1755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01" y="5181519"/>
            <a:ext cx="175500" cy="1755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241104" y="4252600"/>
            <a:ext cx="2376404" cy="1089309"/>
          </a:xfrm>
          <a:prstGeom prst="rect">
            <a:avLst/>
          </a:prstGeom>
          <a:noFill/>
        </p:spPr>
        <p:txBody>
          <a:bodyPr wrap="square" lIns="58500" tIns="58500" rIns="58500" bIns="58500" rtlCol="0">
            <a:noAutofit/>
          </a:bodyPr>
          <a:lstStyle/>
          <a:p>
            <a:pPr defTabSz="371453">
              <a:lnSpc>
                <a:spcPct val="120000"/>
              </a:lnSpc>
              <a:spcBef>
                <a:spcPts val="975"/>
              </a:spcBef>
            </a:pPr>
            <a:r>
              <a:rPr lang="en-AU" sz="1138" i="1" dirty="0">
                <a:solidFill>
                  <a:srgbClr val="19233E"/>
                </a:solidFill>
                <a:latin typeface="Montserrat Medium"/>
              </a:rPr>
              <a:t>Our implementation approach offers a </a:t>
            </a:r>
            <a:br>
              <a:rPr lang="en-AU" sz="1138" i="1" dirty="0">
                <a:solidFill>
                  <a:srgbClr val="19233E"/>
                </a:solidFill>
                <a:latin typeface="Montserrat Medium"/>
              </a:rPr>
            </a:br>
            <a:r>
              <a:rPr lang="en-AU" sz="1138" i="1" dirty="0">
                <a:solidFill>
                  <a:srgbClr val="19233E"/>
                </a:solidFill>
                <a:latin typeface="Montserrat Medium"/>
              </a:rPr>
              <a:t>roadmap for responding </a:t>
            </a:r>
            <a:br>
              <a:rPr lang="en-AU" sz="1138" i="1" dirty="0">
                <a:solidFill>
                  <a:srgbClr val="19233E"/>
                </a:solidFill>
                <a:latin typeface="Montserrat Medium"/>
              </a:rPr>
            </a:br>
            <a:r>
              <a:rPr lang="en-AU" sz="1138" i="1" dirty="0">
                <a:solidFill>
                  <a:srgbClr val="19233E"/>
                </a:solidFill>
                <a:latin typeface="Montserrat Medium"/>
              </a:rPr>
              <a:t>to the department’s </a:t>
            </a:r>
            <a:br>
              <a:rPr lang="en-AU" sz="1138" i="1" dirty="0">
                <a:solidFill>
                  <a:srgbClr val="19233E"/>
                </a:solidFill>
                <a:latin typeface="Montserrat Medium"/>
              </a:rPr>
            </a:br>
            <a:r>
              <a:rPr lang="en-AU" sz="1138" i="1" dirty="0">
                <a:solidFill>
                  <a:srgbClr val="19233E"/>
                </a:solidFill>
                <a:latin typeface="Montserrat Medium"/>
              </a:rPr>
              <a:t>future HCM requirement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295282" y="2268931"/>
            <a:ext cx="3415757" cy="1644455"/>
            <a:chOff x="7669658" y="3785839"/>
            <a:chExt cx="4204009" cy="2023945"/>
          </a:xfrm>
        </p:grpSpPr>
        <p:grpSp>
          <p:nvGrpSpPr>
            <p:cNvPr id="17" name="Group 16"/>
            <p:cNvGrpSpPr/>
            <p:nvPr/>
          </p:nvGrpSpPr>
          <p:grpSpPr>
            <a:xfrm>
              <a:off x="7848722" y="3972395"/>
              <a:ext cx="3845882" cy="1610040"/>
              <a:chOff x="7848722" y="3972395"/>
              <a:chExt cx="3845882" cy="1610040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7848722" y="4243367"/>
                <a:ext cx="3845882" cy="1339068"/>
                <a:chOff x="7848722" y="4243367"/>
                <a:chExt cx="3845882" cy="1339068"/>
              </a:xfrm>
            </p:grpSpPr>
            <p:pic>
              <p:nvPicPr>
                <p:cNvPr id="12" name="Picture 11"/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1863" t="33703" r="53151" b="24021"/>
                <a:stretch/>
              </p:blipFill>
              <p:spPr>
                <a:xfrm>
                  <a:off x="7848722" y="4243367"/>
                  <a:ext cx="1970049" cy="1339068"/>
                </a:xfrm>
                <a:prstGeom prst="rect">
                  <a:avLst/>
                </a:prstGeom>
              </p:spPr>
            </p:pic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2262" t="34231" r="12752" b="23493"/>
                <a:stretch/>
              </p:blipFill>
              <p:spPr>
                <a:xfrm>
                  <a:off x="9724555" y="4243367"/>
                  <a:ext cx="1970049" cy="1339068"/>
                </a:xfrm>
                <a:prstGeom prst="rect">
                  <a:avLst/>
                </a:prstGeom>
              </p:spPr>
            </p:pic>
          </p:grpSp>
          <p:sp>
            <p:nvSpPr>
              <p:cNvPr id="15" name="TextBox 14"/>
              <p:cNvSpPr txBox="1"/>
              <p:nvPr/>
            </p:nvSpPr>
            <p:spPr>
              <a:xfrm>
                <a:off x="7848722" y="3972395"/>
                <a:ext cx="3845882" cy="315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371453"/>
                <a:r>
                  <a:rPr lang="en-AU" sz="1138" b="1" dirty="0">
                    <a:solidFill>
                      <a:srgbClr val="19233E"/>
                    </a:solidFill>
                    <a:latin typeface="Montserrat"/>
                  </a:rPr>
                  <a:t>Solution Design Principles</a:t>
                </a:r>
              </a:p>
            </p:txBody>
          </p:sp>
        </p:grpSp>
        <p:sp>
          <p:nvSpPr>
            <p:cNvPr id="18" name="Rectangle 17"/>
            <p:cNvSpPr/>
            <p:nvPr/>
          </p:nvSpPr>
          <p:spPr>
            <a:xfrm>
              <a:off x="7669658" y="3785839"/>
              <a:ext cx="4204009" cy="2023945"/>
            </a:xfrm>
            <a:prstGeom prst="rect">
              <a:avLst/>
            </a:prstGeom>
            <a:solidFill>
              <a:schemeClr val="accent5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71453"/>
              <a:endParaRPr lang="en-AU" sz="1625" dirty="0" err="1">
                <a:solidFill>
                  <a:srgbClr val="FFFFFF"/>
                </a:solidFill>
                <a:latin typeface="Montserrat Medium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34" y="3850753"/>
            <a:ext cx="175500" cy="175500"/>
          </a:xfrm>
          <a:prstGeom prst="rect">
            <a:avLst/>
          </a:prstGeom>
        </p:spPr>
      </p:pic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A39B51D2-7FE2-E74F-B12C-4953FC72FC52}"/>
              </a:ext>
            </a:extLst>
          </p:cNvPr>
          <p:cNvSpPr txBox="1">
            <a:spLocks/>
          </p:cNvSpPr>
          <p:nvPr/>
        </p:nvSpPr>
        <p:spPr>
          <a:xfrm>
            <a:off x="196839" y="5834064"/>
            <a:ext cx="607223" cy="22321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173" rtl="0" eaLnBrk="1" latinLnBrk="0" hangingPunct="1">
              <a:defRPr sz="1200" b="0" i="0" kern="1200">
                <a:solidFill>
                  <a:schemeClr val="tx2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173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7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0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6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1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4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8" algn="l" defTabSz="4571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71453">
              <a:defRPr/>
            </a:pPr>
            <a:r>
              <a:rPr lang="en-US" sz="975" dirty="0">
                <a:solidFill>
                  <a:srgbClr val="19233E"/>
                </a:solidFill>
              </a:rPr>
              <a:t>Page 5</a:t>
            </a:r>
          </a:p>
        </p:txBody>
      </p:sp>
    </p:spTree>
    <p:extLst>
      <p:ext uri="{BB962C8B-B14F-4D97-AF65-F5344CB8AC3E}">
        <p14:creationId xmlns:p14="http://schemas.microsoft.com/office/powerpoint/2010/main" val="11531693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moNPH1SBSyjLXNlhT6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ytPKcQxy.Dv9epdvp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38p25cS0q0qAvxAqIQ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gWQuzZQmqnNu5Y29ot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xBalr0SYq1jMwaS5ym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NGCpHDRHSVgN0qop_l0g"/>
</p:tagLst>
</file>

<file path=ppt/theme/theme1.xml><?xml version="1.0" encoding="utf-8"?>
<a:theme xmlns:a="http://schemas.openxmlformats.org/drawingml/2006/main" name="Office Theme">
  <a:themeElements>
    <a:clrScheme name="Department of Education Colour FA1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D70C3D"/>
      </a:hlink>
      <a:folHlink>
        <a:srgbClr val="D70C3D"/>
      </a:folHlink>
    </a:clrScheme>
    <a:fontScheme name="Department of Education Font Collection FA1">
      <a:majorFont>
        <a:latin typeface="Montserrat"/>
        <a:ea typeface=""/>
        <a:cs typeface=""/>
      </a:majorFont>
      <a:minorFont>
        <a:latin typeface="Montserrat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DOE_001-PPT_Template_RollOut_V04.pptx" id="{39A8CD0F-10AD-447F-B3BE-93114CE59369}" vid="{2C585F49-D5D5-45B3-BCEF-ED815C3A722F}"/>
    </a:ext>
  </a:extLst>
</a:theme>
</file>

<file path=ppt/theme/theme2.xml><?xml version="1.0" encoding="utf-8"?>
<a:theme xmlns:a="http://schemas.openxmlformats.org/drawingml/2006/main" name="1_Office Theme">
  <a:themeElements>
    <a:clrScheme name="Custom 10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0070C0"/>
      </a:hlink>
      <a:folHlink>
        <a:srgbClr val="002060"/>
      </a:folHlink>
    </a:clrScheme>
    <a:fontScheme name="Department of Education Font Collection FA1">
      <a:majorFont>
        <a:latin typeface="Montserrat"/>
        <a:ea typeface=""/>
        <a:cs typeface=""/>
      </a:majorFont>
      <a:minorFont>
        <a:latin typeface="Montserrat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Presentation1" id="{129BCC9B-FF0F-42CC-B0B7-C6A3498753AD}" vid="{CE406EF9-F565-489A-AA42-84D45F8B4991}"/>
    </a:ext>
  </a:extLst>
</a:theme>
</file>

<file path=ppt/theme/theme3.xml><?xml version="1.0" encoding="utf-8"?>
<a:theme xmlns:a="http://schemas.openxmlformats.org/drawingml/2006/main" name="2_Office Theme">
  <a:themeElements>
    <a:clrScheme name="Department of Education Colour FA1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D70C3D"/>
      </a:hlink>
      <a:folHlink>
        <a:srgbClr val="D70C3D"/>
      </a:folHlink>
    </a:clrScheme>
    <a:fontScheme name="Department of Education Font Collection FA1">
      <a:majorFont>
        <a:latin typeface="Montserrat"/>
        <a:ea typeface=""/>
        <a:cs typeface=""/>
      </a:majorFont>
      <a:minorFont>
        <a:latin typeface="Montserrat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Presentation1" id="{129BCC9B-FF0F-42CC-B0B7-C6A3498753AD}" vid="{CE406EF9-F565-489A-AA42-84D45F8B4991}"/>
    </a:ext>
  </a:extLst>
</a:theme>
</file>

<file path=ppt/theme/theme4.xml><?xml version="1.0" encoding="utf-8"?>
<a:theme xmlns:a="http://schemas.openxmlformats.org/drawingml/2006/main" name="5_Office Theme">
  <a:themeElements>
    <a:clrScheme name="Department of Education Colour FA1">
      <a:dk1>
        <a:srgbClr val="000000"/>
      </a:dk1>
      <a:lt1>
        <a:srgbClr val="FFFFFF"/>
      </a:lt1>
      <a:dk2>
        <a:srgbClr val="19233E"/>
      </a:dk2>
      <a:lt2>
        <a:srgbClr val="E6E7EA"/>
      </a:lt2>
      <a:accent1>
        <a:srgbClr val="19233E"/>
      </a:accent1>
      <a:accent2>
        <a:srgbClr val="385E9D"/>
      </a:accent2>
      <a:accent3>
        <a:srgbClr val="6CACE4"/>
      </a:accent3>
      <a:accent4>
        <a:srgbClr val="C6DAE7"/>
      </a:accent4>
      <a:accent5>
        <a:srgbClr val="D70C3D"/>
      </a:accent5>
      <a:accent6>
        <a:srgbClr val="E56A54"/>
      </a:accent6>
      <a:hlink>
        <a:srgbClr val="D70C3D"/>
      </a:hlink>
      <a:folHlink>
        <a:srgbClr val="D70C3D"/>
      </a:folHlink>
    </a:clrScheme>
    <a:fontScheme name="Department of Education Font Collection FA1">
      <a:majorFont>
        <a:latin typeface="Montserrat"/>
        <a:ea typeface=""/>
        <a:cs typeface=""/>
      </a:majorFont>
      <a:minorFont>
        <a:latin typeface="Montserrat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orporate 1">
      <a:srgbClr val="19233E"/>
    </a:custClr>
    <a:custClr name="Corporate 2">
      <a:srgbClr val="D70C3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chers/Parents 1">
      <a:srgbClr val="1D428A"/>
    </a:custClr>
    <a:custClr name="Teachers/Parents 2">
      <a:srgbClr val="385E9D"/>
    </a:custClr>
    <a:custClr name="Teachers/Parents 3">
      <a:srgbClr val="407EC9"/>
    </a:custClr>
    <a:custClr name="Teachers/Parents 4">
      <a:srgbClr val="6CACE4"/>
    </a:custClr>
    <a:custClr name="Teachers/Parents 5">
      <a:srgbClr val="C8C9C7"/>
    </a:custClr>
    <a:custClr name="Teachers/Parents 6">
      <a:srgbClr val="E6E7EA"/>
    </a:custClr>
    <a:custClr name="Teachers/Parents 7">
      <a:srgbClr val="9D2235"/>
    </a:custClr>
    <a:custClr name="BLANK">
      <a:srgbClr val="FFFFFF"/>
    </a:custClr>
    <a:custClr name="BLANK">
      <a:srgbClr val="FFFFFF"/>
    </a:custClr>
    <a:custClr name="BLANK">
      <a:srgbClr val="FFFFFF"/>
    </a:custClr>
    <a:custClr name="Students 1">
      <a:srgbClr val="A4C8E1"/>
    </a:custClr>
    <a:custClr name="Students 2">
      <a:srgbClr val="C6DAE7"/>
    </a:custClr>
    <a:custClr name="Students 3">
      <a:srgbClr val="E56A54"/>
    </a:custClr>
    <a:custClr name="Students 4">
      <a:srgbClr val="E9C4C7"/>
    </a:custClr>
  </a:custClrLst>
  <a:extLst>
    <a:ext uri="{05A4C25C-085E-4340-85A3-A5531E510DB2}">
      <thm15:themeFamily xmlns:thm15="http://schemas.microsoft.com/office/thememl/2012/main" name="DOE_001 PowerPoint Template_v01.potx" id="{ED0B8EDD-5F10-4700-B8FE-FD06D3A87D6F}" vid="{109C343D-F211-4376-B027-A862C529359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890BB1A24E6D428724A422B5F7898F" ma:contentTypeVersion="10" ma:contentTypeDescription="Create a new document." ma:contentTypeScope="" ma:versionID="95c56b544e66441cd016d6fa221d160d">
  <xsd:schema xmlns:xsd="http://www.w3.org/2001/XMLSchema" xmlns:xs="http://www.w3.org/2001/XMLSchema" xmlns:p="http://schemas.microsoft.com/office/2006/metadata/properties" xmlns:ns2="83007055-fb52-4e49-bdd6-d32e8222546f" xmlns:ns3="66ec7e95-a851-4eea-89c5-7a66133ca56b" targetNamespace="http://schemas.microsoft.com/office/2006/metadata/properties" ma:root="true" ma:fieldsID="28cb72efd9f035298669567bb7baa23c" ns2:_="" ns3:_="">
    <xsd:import namespace="83007055-fb52-4e49-bdd6-d32e8222546f"/>
    <xsd:import namespace="66ec7e95-a851-4eea-89c5-7a66133ca5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007055-fb52-4e49-bdd6-d32e822254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ec7e95-a851-4eea-89c5-7a66133ca56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E6989C3-35C0-44A2-9BD1-10E5B44E04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007055-fb52-4e49-bdd6-d32e8222546f"/>
    <ds:schemaRef ds:uri="66ec7e95-a851-4eea-89c5-7a66133ca5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5897145-D266-45EC-820B-11CDC6C49CF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E6B985-54AF-40C0-B1B3-E12F3EB8FA6A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66ec7e95-a851-4eea-89c5-7a66133ca56b"/>
    <ds:schemaRef ds:uri="http://purl.org/dc/terms/"/>
    <ds:schemaRef ds:uri="http://schemas.openxmlformats.org/package/2006/metadata/core-properties"/>
    <ds:schemaRef ds:uri="83007055-fb52-4e49-bdd6-d32e8222546f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E_001-PPT_Template_RollOut_V04</Template>
  <TotalTime>37</TotalTime>
  <Words>1255</Words>
  <Application>Microsoft Office PowerPoint</Application>
  <PresentationFormat>A4 Paper (210x297 mm)</PresentationFormat>
  <Paragraphs>267</Paragraphs>
  <Slides>12</Slides>
  <Notes>6</Notes>
  <HiddenSlides>1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ＭＳ Ｐゴシック</vt:lpstr>
      <vt:lpstr>Arial</vt:lpstr>
      <vt:lpstr>Calibri</vt:lpstr>
      <vt:lpstr>Helvetica Light</vt:lpstr>
      <vt:lpstr>Monaco</vt:lpstr>
      <vt:lpstr>Montserrat</vt:lpstr>
      <vt:lpstr>Montserrat Light</vt:lpstr>
      <vt:lpstr>Montserrat Medium</vt:lpstr>
      <vt:lpstr>Montserrat SemiBold</vt:lpstr>
      <vt:lpstr>Oswald Medium</vt:lpstr>
      <vt:lpstr>Roboto</vt:lpstr>
      <vt:lpstr>System Font Regular</vt:lpstr>
      <vt:lpstr>Wingdings</vt:lpstr>
      <vt:lpstr>Office Theme</vt:lpstr>
      <vt:lpstr>1_Office Theme</vt:lpstr>
      <vt:lpstr>2_Office Theme</vt:lpstr>
      <vt:lpstr>5_Office Theme</vt:lpstr>
      <vt:lpstr>think-cell Slide</vt:lpstr>
      <vt:lpstr>Strategy and Delivery Division Update</vt:lpstr>
      <vt:lpstr>Strategy and Delivery Overview</vt:lpstr>
      <vt:lpstr>School time matters and we are counting every hour we save</vt:lpstr>
      <vt:lpstr>2018 departmental achievements</vt:lpstr>
      <vt:lpstr>Human Capital Management (HCM)  Program Update</vt:lpstr>
      <vt:lpstr>What is human capital management?</vt:lpstr>
      <vt:lpstr>The case for change</vt:lpstr>
      <vt:lpstr>What will the program deliver for schools?</vt:lpstr>
      <vt:lpstr>What will be implemented?</vt:lpstr>
      <vt:lpstr>Pain points</vt:lpstr>
      <vt:lpstr>What are our targets?</vt:lpstr>
      <vt:lpstr>PowerPoint Presentation</vt:lpstr>
    </vt:vector>
  </TitlesOfParts>
  <Company>NSW Department of Educ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we</dc:title>
  <dc:creator>Jabbour, Tony</dc:creator>
  <cp:lastModifiedBy>Downey, Liana</cp:lastModifiedBy>
  <cp:revision>12</cp:revision>
  <cp:lastPrinted>2018-09-13T06:50:27Z</cp:lastPrinted>
  <dcterms:created xsi:type="dcterms:W3CDTF">2019-05-29T04:00:50Z</dcterms:created>
  <dcterms:modified xsi:type="dcterms:W3CDTF">2019-06-13T05:5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890BB1A24E6D428724A422B5F7898F</vt:lpwstr>
  </property>
</Properties>
</file>